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02" r:id="rId4"/>
  </p:sldMasterIdLst>
  <p:notesMasterIdLst>
    <p:notesMasterId r:id="rId20"/>
  </p:notesMasterIdLst>
  <p:handoutMasterIdLst>
    <p:handoutMasterId r:id="rId21"/>
  </p:handoutMasterIdLst>
  <p:sldIdLst>
    <p:sldId id="622" r:id="rId5"/>
    <p:sldId id="581" r:id="rId6"/>
    <p:sldId id="661" r:id="rId7"/>
    <p:sldId id="662" r:id="rId8"/>
    <p:sldId id="663" r:id="rId9"/>
    <p:sldId id="665" r:id="rId10"/>
    <p:sldId id="639" r:id="rId11"/>
    <p:sldId id="641" r:id="rId12"/>
    <p:sldId id="649" r:id="rId13"/>
    <p:sldId id="651" r:id="rId14"/>
    <p:sldId id="650" r:id="rId15"/>
    <p:sldId id="642" r:id="rId16"/>
    <p:sldId id="644" r:id="rId17"/>
    <p:sldId id="539" r:id="rId18"/>
    <p:sldId id="621" r:id="rId19"/>
  </p:sldIdLst>
  <p:sldSz cx="9906000" cy="6858000" type="A4"/>
  <p:notesSz cx="6797675" cy="9926638"/>
  <p:custDataLst>
    <p:tags r:id="rId22"/>
  </p:custDataLst>
  <p:defaultTextStyle>
    <a:defPPr>
      <a:defRPr lang="ja-JP"/>
    </a:defPPr>
    <a:lvl1pPr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1pPr>
    <a:lvl2pPr marL="457200"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2pPr>
    <a:lvl3pPr marL="914400"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3pPr>
    <a:lvl4pPr marL="1371600"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4pPr>
    <a:lvl5pPr marL="1828800"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5pPr>
    <a:lvl6pPr marL="2286000" algn="l" defTabSz="914400" rtl="0" eaLnBrk="1" latinLnBrk="0" hangingPunct="1">
      <a:defRPr kumimoji="1" sz="1600" kern="1200">
        <a:solidFill>
          <a:schemeClr val="tx1"/>
        </a:solidFill>
        <a:latin typeface="ＭＳ Ｐゴシック" charset="-128"/>
        <a:ea typeface="ＭＳ Ｐゴシック" charset="-128"/>
        <a:cs typeface="+mn-cs"/>
      </a:defRPr>
    </a:lvl6pPr>
    <a:lvl7pPr marL="2743200" algn="l" defTabSz="914400" rtl="0" eaLnBrk="1" latinLnBrk="0" hangingPunct="1">
      <a:defRPr kumimoji="1" sz="1600" kern="1200">
        <a:solidFill>
          <a:schemeClr val="tx1"/>
        </a:solidFill>
        <a:latin typeface="ＭＳ Ｐゴシック" charset="-128"/>
        <a:ea typeface="ＭＳ Ｐゴシック" charset="-128"/>
        <a:cs typeface="+mn-cs"/>
      </a:defRPr>
    </a:lvl7pPr>
    <a:lvl8pPr marL="3200400" algn="l" defTabSz="914400" rtl="0" eaLnBrk="1" latinLnBrk="0" hangingPunct="1">
      <a:defRPr kumimoji="1" sz="1600" kern="1200">
        <a:solidFill>
          <a:schemeClr val="tx1"/>
        </a:solidFill>
        <a:latin typeface="ＭＳ Ｐゴシック" charset="-128"/>
        <a:ea typeface="ＭＳ Ｐゴシック" charset="-128"/>
        <a:cs typeface="+mn-cs"/>
      </a:defRPr>
    </a:lvl8pPr>
    <a:lvl9pPr marL="3657600" algn="l" defTabSz="914400" rtl="0" eaLnBrk="1" latinLnBrk="0" hangingPunct="1">
      <a:defRPr kumimoji="1" sz="1600" kern="1200">
        <a:solidFill>
          <a:schemeClr val="tx1"/>
        </a:solidFill>
        <a:latin typeface="ＭＳ Ｐゴシック" charset="-128"/>
        <a:ea typeface="ＭＳ Ｐゴシック" charset="-128"/>
        <a:cs typeface="+mn-cs"/>
      </a:defRPr>
    </a:lvl9pPr>
  </p:defaultTextStyle>
  <p:extLst>
    <p:ext uri="{EFAFB233-063F-42B5-8137-9DF3F51BA10A}">
      <p15:sldGuideLst xmlns:p15="http://schemas.microsoft.com/office/powerpoint/2012/main">
        <p15:guide id="2" pos="1752" userDrawn="1">
          <p15:clr>
            <a:srgbClr val="A4A3A4"/>
          </p15:clr>
        </p15:guide>
        <p15:guide id="3" pos="6227" userDrawn="1">
          <p15:clr>
            <a:srgbClr val="A4A3A4"/>
          </p15:clr>
        </p15:guide>
        <p15:guide id="7" orient="horz" pos="1366" userDrawn="1">
          <p15:clr>
            <a:srgbClr val="A4A3A4"/>
          </p15:clr>
        </p15:guide>
        <p15:guide id="8" orient="horz" pos="34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33"/>
    <a:srgbClr val="009900"/>
    <a:srgbClr val="161E3E"/>
    <a:srgbClr val="FFF796"/>
    <a:srgbClr val="C6CDEB"/>
    <a:srgbClr val="09BAAD"/>
    <a:srgbClr val="8AD4EB"/>
    <a:srgbClr val="182044"/>
    <a:srgbClr val="202C5C"/>
    <a:srgbClr val="B3D7F7"/>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0C1106-BC84-4108-9D85-E56BA601B369}" v="3506" dt="2023-11-15T04:19:17.870"/>
    <p1510:client id="{D26C1C33-14CF-4CF4-B81E-B245C39BC4BF}" v="1834" dt="2023-11-15T01:27:09.96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1570" y="38"/>
      </p:cViewPr>
      <p:guideLst>
        <p:guide pos="1752"/>
        <p:guide pos="6227"/>
        <p:guide orient="horz" pos="1366"/>
        <p:guide orient="horz" pos="343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raj Sinya" userId="a6e95797-5893-4261-9f10-8f81f198df75" providerId="ADAL" clId="{61D32889-6FB3-F54A-8A3B-7C45787BF9E1}"/>
    <pc:docChg chg="modSld">
      <pc:chgData name="Miraj Sinya" userId="a6e95797-5893-4261-9f10-8f81f198df75" providerId="ADAL" clId="{61D32889-6FB3-F54A-8A3B-7C45787BF9E1}" dt="2023-11-15T04:37:21.536" v="20" actId="20577"/>
      <pc:docMkLst>
        <pc:docMk/>
      </pc:docMkLst>
      <pc:sldChg chg="modSp">
        <pc:chgData name="Miraj Sinya" userId="a6e95797-5893-4261-9f10-8f81f198df75" providerId="ADAL" clId="{61D32889-6FB3-F54A-8A3B-7C45787BF9E1}" dt="2023-11-15T04:37:21.536" v="20" actId="20577"/>
        <pc:sldMkLst>
          <pc:docMk/>
          <pc:sldMk cId="3394563635" sldId="581"/>
        </pc:sldMkLst>
        <pc:spChg chg="mod">
          <ac:chgData name="Miraj Sinya" userId="a6e95797-5893-4261-9f10-8f81f198df75" providerId="ADAL" clId="{61D32889-6FB3-F54A-8A3B-7C45787BF9E1}" dt="2023-11-15T04:37:21.536" v="20" actId="20577"/>
          <ac:spMkLst>
            <pc:docMk/>
            <pc:sldMk cId="3394563635" sldId="581"/>
            <ac:spMk id="4" creationId="{B9F7AAA0-6D2F-909C-1E50-4F93904827DA}"/>
          </ac:spMkLst>
        </pc:spChg>
      </pc:sldChg>
      <pc:sldChg chg="modSp">
        <pc:chgData name="Miraj Sinya" userId="a6e95797-5893-4261-9f10-8f81f198df75" providerId="ADAL" clId="{61D32889-6FB3-F54A-8A3B-7C45787BF9E1}" dt="2023-11-15T04:35:01.593" v="14" actId="20577"/>
        <pc:sldMkLst>
          <pc:docMk/>
          <pc:sldMk cId="1699252185" sldId="665"/>
        </pc:sldMkLst>
        <pc:spChg chg="mod">
          <ac:chgData name="Miraj Sinya" userId="a6e95797-5893-4261-9f10-8f81f198df75" providerId="ADAL" clId="{61D32889-6FB3-F54A-8A3B-7C45787BF9E1}" dt="2023-11-15T04:35:01.593" v="14" actId="20577"/>
          <ac:spMkLst>
            <pc:docMk/>
            <pc:sldMk cId="1699252185" sldId="665"/>
            <ac:spMk id="3" creationId="{D87C5D98-C69C-B58C-F333-446A4914582E}"/>
          </ac:spMkLst>
        </pc:spChg>
      </pc:sldChg>
    </pc:docChg>
  </pc:docChgLst>
  <pc:docChgLst>
    <pc:chgData name="miraj sinya" userId="9f99502c73333c07" providerId="LiveId" clId="{1B2898EF-2D25-40F5-B0FA-55D6DBAA7B11}"/>
    <pc:docChg chg="undo redo custSel addSld delSld modSld sldOrd">
      <pc:chgData name="miraj sinya" userId="9f99502c73333c07" providerId="LiveId" clId="{1B2898EF-2D25-40F5-B0FA-55D6DBAA7B11}" dt="2023-11-14T01:03:24.037" v="5666" actId="680"/>
      <pc:docMkLst>
        <pc:docMk/>
      </pc:docMkLst>
      <pc:sldChg chg="modSp mod">
        <pc:chgData name="miraj sinya" userId="9f99502c73333c07" providerId="LiveId" clId="{1B2898EF-2D25-40F5-B0FA-55D6DBAA7B11}" dt="2023-11-13T23:56:17.661" v="5080" actId="20577"/>
        <pc:sldMkLst>
          <pc:docMk/>
          <pc:sldMk cId="3394563635" sldId="581"/>
        </pc:sldMkLst>
        <pc:spChg chg="mod">
          <ac:chgData name="miraj sinya" userId="9f99502c73333c07" providerId="LiveId" clId="{1B2898EF-2D25-40F5-B0FA-55D6DBAA7B11}" dt="2023-11-13T05:36:31.767" v="3658" actId="20577"/>
          <ac:spMkLst>
            <pc:docMk/>
            <pc:sldMk cId="3394563635" sldId="581"/>
            <ac:spMk id="2" creationId="{B2FAEFB0-D429-0836-F9FE-61F4296114BE}"/>
          </ac:spMkLst>
        </pc:spChg>
        <pc:spChg chg="mod">
          <ac:chgData name="miraj sinya" userId="9f99502c73333c07" providerId="LiveId" clId="{1B2898EF-2D25-40F5-B0FA-55D6DBAA7B11}" dt="2023-11-13T23:56:17.661" v="5080" actId="20577"/>
          <ac:spMkLst>
            <pc:docMk/>
            <pc:sldMk cId="3394563635" sldId="581"/>
            <ac:spMk id="4" creationId="{B9F7AAA0-6D2F-909C-1E50-4F93904827DA}"/>
          </ac:spMkLst>
        </pc:spChg>
      </pc:sldChg>
      <pc:sldChg chg="delSp modSp add del mod ord">
        <pc:chgData name="miraj sinya" userId="9f99502c73333c07" providerId="LiveId" clId="{1B2898EF-2D25-40F5-B0FA-55D6DBAA7B11}" dt="2023-11-14T00:46:08.499" v="5550"/>
        <pc:sldMkLst>
          <pc:docMk/>
          <pc:sldMk cId="2270713310" sldId="598"/>
        </pc:sldMkLst>
        <pc:spChg chg="mod">
          <ac:chgData name="miraj sinya" userId="9f99502c73333c07" providerId="LiveId" clId="{1B2898EF-2D25-40F5-B0FA-55D6DBAA7B11}" dt="2023-11-13T05:36:12.111" v="3649"/>
          <ac:spMkLst>
            <pc:docMk/>
            <pc:sldMk cId="2270713310" sldId="598"/>
            <ac:spMk id="2" creationId="{09ADDBD3-7A20-6F38-ADFC-203FE1B871B0}"/>
          </ac:spMkLst>
        </pc:spChg>
        <pc:picChg chg="del">
          <ac:chgData name="miraj sinya" userId="9f99502c73333c07" providerId="LiveId" clId="{1B2898EF-2D25-40F5-B0FA-55D6DBAA7B11}" dt="2023-11-14T00:46:08.499" v="5550"/>
          <ac:picMkLst>
            <pc:docMk/>
            <pc:sldMk cId="2270713310" sldId="598"/>
            <ac:picMk id="5" creationId="{CEA56877-3B7C-F311-79B5-1B04DB35767B}"/>
          </ac:picMkLst>
        </pc:picChg>
      </pc:sldChg>
      <pc:sldChg chg="add del">
        <pc:chgData name="miraj sinya" userId="9f99502c73333c07" providerId="LiveId" clId="{1B2898EF-2D25-40F5-B0FA-55D6DBAA7B11}" dt="2023-11-13T05:16:30.557" v="3114" actId="47"/>
        <pc:sldMkLst>
          <pc:docMk/>
          <pc:sldMk cId="4008453649" sldId="604"/>
        </pc:sldMkLst>
      </pc:sldChg>
      <pc:sldChg chg="add del">
        <pc:chgData name="miraj sinya" userId="9f99502c73333c07" providerId="LiveId" clId="{1B2898EF-2D25-40F5-B0FA-55D6DBAA7B11}" dt="2023-11-13T05:16:30.557" v="3114" actId="47"/>
        <pc:sldMkLst>
          <pc:docMk/>
          <pc:sldMk cId="1556697206" sldId="607"/>
        </pc:sldMkLst>
      </pc:sldChg>
      <pc:sldChg chg="del">
        <pc:chgData name="miraj sinya" userId="9f99502c73333c07" providerId="LiveId" clId="{1B2898EF-2D25-40F5-B0FA-55D6DBAA7B11}" dt="2023-11-12T23:57:08.950" v="0" actId="47"/>
        <pc:sldMkLst>
          <pc:docMk/>
          <pc:sldMk cId="634381215" sldId="608"/>
        </pc:sldMkLst>
      </pc:sldChg>
      <pc:sldChg chg="del">
        <pc:chgData name="miraj sinya" userId="9f99502c73333c07" providerId="LiveId" clId="{1B2898EF-2D25-40F5-B0FA-55D6DBAA7B11}" dt="2023-11-12T23:57:09.948" v="1" actId="47"/>
        <pc:sldMkLst>
          <pc:docMk/>
          <pc:sldMk cId="2265658142" sldId="609"/>
        </pc:sldMkLst>
      </pc:sldChg>
      <pc:sldChg chg="del">
        <pc:chgData name="miraj sinya" userId="9f99502c73333c07" providerId="LiveId" clId="{1B2898EF-2D25-40F5-B0FA-55D6DBAA7B11}" dt="2023-11-12T23:57:10.885" v="2" actId="47"/>
        <pc:sldMkLst>
          <pc:docMk/>
          <pc:sldMk cId="3629486408" sldId="611"/>
        </pc:sldMkLst>
      </pc:sldChg>
      <pc:sldChg chg="add del">
        <pc:chgData name="miraj sinya" userId="9f99502c73333c07" providerId="LiveId" clId="{1B2898EF-2D25-40F5-B0FA-55D6DBAA7B11}" dt="2023-11-13T05:16:30.557" v="3114" actId="47"/>
        <pc:sldMkLst>
          <pc:docMk/>
          <pc:sldMk cId="878837709" sldId="612"/>
        </pc:sldMkLst>
      </pc:sldChg>
      <pc:sldChg chg="add del">
        <pc:chgData name="miraj sinya" userId="9f99502c73333c07" providerId="LiveId" clId="{1B2898EF-2D25-40F5-B0FA-55D6DBAA7B11}" dt="2023-11-13T05:16:30.557" v="3114" actId="47"/>
        <pc:sldMkLst>
          <pc:docMk/>
          <pc:sldMk cId="2279341814" sldId="614"/>
        </pc:sldMkLst>
      </pc:sldChg>
      <pc:sldChg chg="del">
        <pc:chgData name="miraj sinya" userId="9f99502c73333c07" providerId="LiveId" clId="{1B2898EF-2D25-40F5-B0FA-55D6DBAA7B11}" dt="2023-11-13T05:15:28.635" v="3094" actId="47"/>
        <pc:sldMkLst>
          <pc:docMk/>
          <pc:sldMk cId="3226856182" sldId="618"/>
        </pc:sldMkLst>
      </pc:sldChg>
      <pc:sldChg chg="del">
        <pc:chgData name="miraj sinya" userId="9f99502c73333c07" providerId="LiveId" clId="{1B2898EF-2D25-40F5-B0FA-55D6DBAA7B11}" dt="2023-11-13T05:15:32.964" v="3098" actId="47"/>
        <pc:sldMkLst>
          <pc:docMk/>
          <pc:sldMk cId="2252611571" sldId="619"/>
        </pc:sldMkLst>
      </pc:sldChg>
      <pc:sldChg chg="modSp add del mod">
        <pc:chgData name="miraj sinya" userId="9f99502c73333c07" providerId="LiveId" clId="{1B2898EF-2D25-40F5-B0FA-55D6DBAA7B11}" dt="2023-11-13T05:23:12.482" v="3297" actId="400"/>
        <pc:sldMkLst>
          <pc:docMk/>
          <pc:sldMk cId="1262739640" sldId="621"/>
        </pc:sldMkLst>
        <pc:spChg chg="mod">
          <ac:chgData name="miraj sinya" userId="9f99502c73333c07" providerId="LiveId" clId="{1B2898EF-2D25-40F5-B0FA-55D6DBAA7B11}" dt="2023-11-13T05:23:12.482" v="3297" actId="400"/>
          <ac:spMkLst>
            <pc:docMk/>
            <pc:sldMk cId="1262739640" sldId="621"/>
            <ac:spMk id="5" creationId="{8C2A81C2-CB9D-5E0D-1B45-AC1250F47E64}"/>
          </ac:spMkLst>
        </pc:spChg>
      </pc:sldChg>
      <pc:sldChg chg="modSp mod">
        <pc:chgData name="miraj sinya" userId="9f99502c73333c07" providerId="LiveId" clId="{1B2898EF-2D25-40F5-B0FA-55D6DBAA7B11}" dt="2023-11-13T00:03:29.766" v="242" actId="400"/>
        <pc:sldMkLst>
          <pc:docMk/>
          <pc:sldMk cId="2705744719" sldId="622"/>
        </pc:sldMkLst>
        <pc:spChg chg="mod">
          <ac:chgData name="miraj sinya" userId="9f99502c73333c07" providerId="LiveId" clId="{1B2898EF-2D25-40F5-B0FA-55D6DBAA7B11}" dt="2023-11-13T00:00:55.334" v="79" actId="1076"/>
          <ac:spMkLst>
            <pc:docMk/>
            <pc:sldMk cId="2705744719" sldId="622"/>
            <ac:spMk id="2" creationId="{6F01F978-CE85-1377-6EDE-D5FEBD8CE2D3}"/>
          </ac:spMkLst>
        </pc:spChg>
        <pc:spChg chg="mod">
          <ac:chgData name="miraj sinya" userId="9f99502c73333c07" providerId="LiveId" clId="{1B2898EF-2D25-40F5-B0FA-55D6DBAA7B11}" dt="2023-11-13T00:00:53.043" v="78" actId="1076"/>
          <ac:spMkLst>
            <pc:docMk/>
            <pc:sldMk cId="2705744719" sldId="622"/>
            <ac:spMk id="3" creationId="{D9C9ACA2-A3AE-D6EF-CC33-B149455093C7}"/>
          </ac:spMkLst>
        </pc:spChg>
        <pc:spChg chg="mod">
          <ac:chgData name="miraj sinya" userId="9f99502c73333c07" providerId="LiveId" clId="{1B2898EF-2D25-40F5-B0FA-55D6DBAA7B11}" dt="2023-11-13T00:03:29.766" v="242" actId="400"/>
          <ac:spMkLst>
            <pc:docMk/>
            <pc:sldMk cId="2705744719" sldId="622"/>
            <ac:spMk id="7" creationId="{A29DD16F-C434-F01B-B19D-AAD93C5C2D57}"/>
          </ac:spMkLst>
        </pc:spChg>
        <pc:spChg chg="mod">
          <ac:chgData name="miraj sinya" userId="9f99502c73333c07" providerId="LiveId" clId="{1B2898EF-2D25-40F5-B0FA-55D6DBAA7B11}" dt="2023-11-13T00:02:01.039" v="144" actId="20577"/>
          <ac:spMkLst>
            <pc:docMk/>
            <pc:sldMk cId="2705744719" sldId="622"/>
            <ac:spMk id="12" creationId="{04D82B57-FC93-F808-D711-41D7C57716AB}"/>
          </ac:spMkLst>
        </pc:spChg>
      </pc:sldChg>
      <pc:sldChg chg="del">
        <pc:chgData name="miraj sinya" userId="9f99502c73333c07" providerId="LiveId" clId="{1B2898EF-2D25-40F5-B0FA-55D6DBAA7B11}" dt="2023-11-13T05:15:33.544" v="3099" actId="47"/>
        <pc:sldMkLst>
          <pc:docMk/>
          <pc:sldMk cId="286777989" sldId="623"/>
        </pc:sldMkLst>
      </pc:sldChg>
      <pc:sldChg chg="del">
        <pc:chgData name="miraj sinya" userId="9f99502c73333c07" providerId="LiveId" clId="{1B2898EF-2D25-40F5-B0FA-55D6DBAA7B11}" dt="2023-11-13T05:15:25.783" v="3093" actId="47"/>
        <pc:sldMkLst>
          <pc:docMk/>
          <pc:sldMk cId="4028579692" sldId="624"/>
        </pc:sldMkLst>
      </pc:sldChg>
      <pc:sldChg chg="del">
        <pc:chgData name="miraj sinya" userId="9f99502c73333c07" providerId="LiveId" clId="{1B2898EF-2D25-40F5-B0FA-55D6DBAA7B11}" dt="2023-11-13T05:15:25.053" v="3092" actId="47"/>
        <pc:sldMkLst>
          <pc:docMk/>
          <pc:sldMk cId="1739270523" sldId="625"/>
        </pc:sldMkLst>
      </pc:sldChg>
      <pc:sldChg chg="del">
        <pc:chgData name="miraj sinya" userId="9f99502c73333c07" providerId="LiveId" clId="{1B2898EF-2D25-40F5-B0FA-55D6DBAA7B11}" dt="2023-11-13T05:15:23.443" v="3091" actId="47"/>
        <pc:sldMkLst>
          <pc:docMk/>
          <pc:sldMk cId="3790078528" sldId="627"/>
        </pc:sldMkLst>
      </pc:sldChg>
      <pc:sldChg chg="del">
        <pc:chgData name="miraj sinya" userId="9f99502c73333c07" providerId="LiveId" clId="{1B2898EF-2D25-40F5-B0FA-55D6DBAA7B11}" dt="2023-11-13T05:15:32.155" v="3097" actId="47"/>
        <pc:sldMkLst>
          <pc:docMk/>
          <pc:sldMk cId="3789486591" sldId="633"/>
        </pc:sldMkLst>
      </pc:sldChg>
      <pc:sldChg chg="del">
        <pc:chgData name="miraj sinya" userId="9f99502c73333c07" providerId="LiveId" clId="{1B2898EF-2D25-40F5-B0FA-55D6DBAA7B11}" dt="2023-11-13T05:15:30.499" v="3095" actId="47"/>
        <pc:sldMkLst>
          <pc:docMk/>
          <pc:sldMk cId="3625445693" sldId="634"/>
        </pc:sldMkLst>
      </pc:sldChg>
      <pc:sldChg chg="del">
        <pc:chgData name="miraj sinya" userId="9f99502c73333c07" providerId="LiveId" clId="{1B2898EF-2D25-40F5-B0FA-55D6DBAA7B11}" dt="2023-11-13T05:15:31.248" v="3096" actId="47"/>
        <pc:sldMkLst>
          <pc:docMk/>
          <pc:sldMk cId="1322459214" sldId="637"/>
        </pc:sldMkLst>
      </pc:sldChg>
      <pc:sldChg chg="del">
        <pc:chgData name="miraj sinya" userId="9f99502c73333c07" providerId="LiveId" clId="{1B2898EF-2D25-40F5-B0FA-55D6DBAA7B11}" dt="2023-11-13T05:15:22.697" v="3090" actId="47"/>
        <pc:sldMkLst>
          <pc:docMk/>
          <pc:sldMk cId="1532578159" sldId="638"/>
        </pc:sldMkLst>
      </pc:sldChg>
      <pc:sldChg chg="addSp delSp modSp new mod">
        <pc:chgData name="miraj sinya" userId="9f99502c73333c07" providerId="LiveId" clId="{1B2898EF-2D25-40F5-B0FA-55D6DBAA7B11}" dt="2023-11-13T05:45:25.464" v="3777" actId="20577"/>
        <pc:sldMkLst>
          <pc:docMk/>
          <pc:sldMk cId="1184884871" sldId="639"/>
        </pc:sldMkLst>
        <pc:spChg chg="mod">
          <ac:chgData name="miraj sinya" userId="9f99502c73333c07" providerId="LiveId" clId="{1B2898EF-2D25-40F5-B0FA-55D6DBAA7B11}" dt="2023-11-13T03:51:59.565" v="1658" actId="6549"/>
          <ac:spMkLst>
            <pc:docMk/>
            <pc:sldMk cId="1184884871" sldId="639"/>
            <ac:spMk id="2" creationId="{2BD9482C-9809-78C2-DBBB-630F5596988E}"/>
          </ac:spMkLst>
        </pc:spChg>
        <pc:spChg chg="add mod">
          <ac:chgData name="miraj sinya" userId="9f99502c73333c07" providerId="LiveId" clId="{1B2898EF-2D25-40F5-B0FA-55D6DBAA7B11}" dt="2023-11-13T05:45:25.464" v="3777" actId="20577"/>
          <ac:spMkLst>
            <pc:docMk/>
            <pc:sldMk cId="1184884871" sldId="639"/>
            <ac:spMk id="3" creationId="{B86EE26B-A320-1117-C533-672582AFE7DA}"/>
          </ac:spMkLst>
        </pc:spChg>
        <pc:spChg chg="mod topLvl">
          <ac:chgData name="miraj sinya" userId="9f99502c73333c07" providerId="LiveId" clId="{1B2898EF-2D25-40F5-B0FA-55D6DBAA7B11}" dt="2023-11-13T05:11:49.651" v="3061" actId="165"/>
          <ac:spMkLst>
            <pc:docMk/>
            <pc:sldMk cId="1184884871" sldId="639"/>
            <ac:spMk id="18" creationId="{4CDD7EDA-8C8C-AD0F-5282-86227D3C00F5}"/>
          </ac:spMkLst>
        </pc:spChg>
        <pc:spChg chg="mod ord topLvl">
          <ac:chgData name="miraj sinya" userId="9f99502c73333c07" providerId="LiveId" clId="{1B2898EF-2D25-40F5-B0FA-55D6DBAA7B11}" dt="2023-11-13T05:11:49.651" v="3061" actId="165"/>
          <ac:spMkLst>
            <pc:docMk/>
            <pc:sldMk cId="1184884871" sldId="639"/>
            <ac:spMk id="19" creationId="{FB22A53D-A04E-4953-5B43-167D0D623473}"/>
          </ac:spMkLst>
        </pc:spChg>
        <pc:spChg chg="del mod topLvl">
          <ac:chgData name="miraj sinya" userId="9f99502c73333c07" providerId="LiveId" clId="{1B2898EF-2D25-40F5-B0FA-55D6DBAA7B11}" dt="2023-11-13T00:24:24.358" v="488" actId="478"/>
          <ac:spMkLst>
            <pc:docMk/>
            <pc:sldMk cId="1184884871" sldId="639"/>
            <ac:spMk id="21" creationId="{C0803D98-1DF9-CC24-344C-E496171D5A11}"/>
          </ac:spMkLst>
        </pc:spChg>
        <pc:spChg chg="del mod topLvl">
          <ac:chgData name="miraj sinya" userId="9f99502c73333c07" providerId="LiveId" clId="{1B2898EF-2D25-40F5-B0FA-55D6DBAA7B11}" dt="2023-11-13T00:24:22.492" v="487" actId="478"/>
          <ac:spMkLst>
            <pc:docMk/>
            <pc:sldMk cId="1184884871" sldId="639"/>
            <ac:spMk id="22" creationId="{F9FC01F3-5DBE-BF2F-3B9D-612BD37BD42A}"/>
          </ac:spMkLst>
        </pc:spChg>
        <pc:spChg chg="del mod topLvl">
          <ac:chgData name="miraj sinya" userId="9f99502c73333c07" providerId="LiveId" clId="{1B2898EF-2D25-40F5-B0FA-55D6DBAA7B11}" dt="2023-11-13T00:24:15.014" v="485" actId="478"/>
          <ac:spMkLst>
            <pc:docMk/>
            <pc:sldMk cId="1184884871" sldId="639"/>
            <ac:spMk id="23" creationId="{2255016D-FA10-A3B5-4756-9C19107C4536}"/>
          </ac:spMkLst>
        </pc:spChg>
        <pc:spChg chg="del mod topLvl">
          <ac:chgData name="miraj sinya" userId="9f99502c73333c07" providerId="LiveId" clId="{1B2898EF-2D25-40F5-B0FA-55D6DBAA7B11}" dt="2023-11-13T00:24:15.014" v="485" actId="478"/>
          <ac:spMkLst>
            <pc:docMk/>
            <pc:sldMk cId="1184884871" sldId="639"/>
            <ac:spMk id="24" creationId="{06BF219B-8D1E-9BAC-8D5B-8257AADA63B7}"/>
          </ac:spMkLst>
        </pc:spChg>
        <pc:spChg chg="del mod topLvl">
          <ac:chgData name="miraj sinya" userId="9f99502c73333c07" providerId="LiveId" clId="{1B2898EF-2D25-40F5-B0FA-55D6DBAA7B11}" dt="2023-11-13T00:24:15.014" v="485" actId="478"/>
          <ac:spMkLst>
            <pc:docMk/>
            <pc:sldMk cId="1184884871" sldId="639"/>
            <ac:spMk id="25" creationId="{FE19F466-67D7-344B-4BC6-2E135D578136}"/>
          </ac:spMkLst>
        </pc:spChg>
        <pc:spChg chg="del mod topLvl">
          <ac:chgData name="miraj sinya" userId="9f99502c73333c07" providerId="LiveId" clId="{1B2898EF-2D25-40F5-B0FA-55D6DBAA7B11}" dt="2023-11-13T00:24:15.014" v="485" actId="478"/>
          <ac:spMkLst>
            <pc:docMk/>
            <pc:sldMk cId="1184884871" sldId="639"/>
            <ac:spMk id="26" creationId="{FC04F0CD-AF27-24D8-3E15-A23A7BA88C80}"/>
          </ac:spMkLst>
        </pc:spChg>
        <pc:spChg chg="del mod topLvl">
          <ac:chgData name="miraj sinya" userId="9f99502c73333c07" providerId="LiveId" clId="{1B2898EF-2D25-40F5-B0FA-55D6DBAA7B11}" dt="2023-11-13T00:23:49.273" v="483" actId="478"/>
          <ac:spMkLst>
            <pc:docMk/>
            <pc:sldMk cId="1184884871" sldId="639"/>
            <ac:spMk id="27" creationId="{4B7D1D81-B082-F85E-B8DF-A87AEC53DE50}"/>
          </ac:spMkLst>
        </pc:spChg>
        <pc:spChg chg="del mod topLvl">
          <ac:chgData name="miraj sinya" userId="9f99502c73333c07" providerId="LiveId" clId="{1B2898EF-2D25-40F5-B0FA-55D6DBAA7B11}" dt="2023-11-13T00:24:15.014" v="485" actId="478"/>
          <ac:spMkLst>
            <pc:docMk/>
            <pc:sldMk cId="1184884871" sldId="639"/>
            <ac:spMk id="28" creationId="{2C894528-B932-5811-C7B4-B1C3A8FEC555}"/>
          </ac:spMkLst>
        </pc:spChg>
        <pc:spChg chg="del mod topLvl">
          <ac:chgData name="miraj sinya" userId="9f99502c73333c07" providerId="LiveId" clId="{1B2898EF-2D25-40F5-B0FA-55D6DBAA7B11}" dt="2023-11-13T03:21:06.544" v="1255" actId="478"/>
          <ac:spMkLst>
            <pc:docMk/>
            <pc:sldMk cId="1184884871" sldId="639"/>
            <ac:spMk id="40" creationId="{EABBFF8A-53D4-3454-4257-3DE9AED84EE2}"/>
          </ac:spMkLst>
        </pc:spChg>
        <pc:spChg chg="del mod topLvl">
          <ac:chgData name="miraj sinya" userId="9f99502c73333c07" providerId="LiveId" clId="{1B2898EF-2D25-40F5-B0FA-55D6DBAA7B11}" dt="2023-11-13T03:21:06.544" v="1255" actId="478"/>
          <ac:spMkLst>
            <pc:docMk/>
            <pc:sldMk cId="1184884871" sldId="639"/>
            <ac:spMk id="41" creationId="{2A8F743F-99E9-6C6F-E803-3453D525ECCE}"/>
          </ac:spMkLst>
        </pc:spChg>
        <pc:spChg chg="del mod topLvl">
          <ac:chgData name="miraj sinya" userId="9f99502c73333c07" providerId="LiveId" clId="{1B2898EF-2D25-40F5-B0FA-55D6DBAA7B11}" dt="2023-11-13T03:21:06.544" v="1255" actId="478"/>
          <ac:spMkLst>
            <pc:docMk/>
            <pc:sldMk cId="1184884871" sldId="639"/>
            <ac:spMk id="42" creationId="{7F934062-A577-2118-6F49-333C162E9E37}"/>
          </ac:spMkLst>
        </pc:spChg>
        <pc:spChg chg="del mod topLvl">
          <ac:chgData name="miraj sinya" userId="9f99502c73333c07" providerId="LiveId" clId="{1B2898EF-2D25-40F5-B0FA-55D6DBAA7B11}" dt="2023-11-13T03:21:06.544" v="1255" actId="478"/>
          <ac:spMkLst>
            <pc:docMk/>
            <pc:sldMk cId="1184884871" sldId="639"/>
            <ac:spMk id="43" creationId="{087AFCF6-88E3-4542-C739-0A82F6C7DA54}"/>
          </ac:spMkLst>
        </pc:spChg>
        <pc:spChg chg="mod">
          <ac:chgData name="miraj sinya" userId="9f99502c73333c07" providerId="LiveId" clId="{1B2898EF-2D25-40F5-B0FA-55D6DBAA7B11}" dt="2023-11-13T00:35:36.302" v="752" actId="165"/>
          <ac:spMkLst>
            <pc:docMk/>
            <pc:sldMk cId="1184884871" sldId="639"/>
            <ac:spMk id="45" creationId="{D53DA431-044A-9247-7DB6-D8D3BA756959}"/>
          </ac:spMkLst>
        </pc:spChg>
        <pc:spChg chg="mod">
          <ac:chgData name="miraj sinya" userId="9f99502c73333c07" providerId="LiveId" clId="{1B2898EF-2D25-40F5-B0FA-55D6DBAA7B11}" dt="2023-11-13T03:14:07.958" v="1119" actId="1076"/>
          <ac:spMkLst>
            <pc:docMk/>
            <pc:sldMk cId="1184884871" sldId="639"/>
            <ac:spMk id="46" creationId="{AC2A26EC-B237-043B-22EC-A2C5FE2C9D57}"/>
          </ac:spMkLst>
        </pc:spChg>
        <pc:spChg chg="add del mod topLvl">
          <ac:chgData name="miraj sinya" userId="9f99502c73333c07" providerId="LiveId" clId="{1B2898EF-2D25-40F5-B0FA-55D6DBAA7B11}" dt="2023-11-13T00:35:58.455" v="760" actId="478"/>
          <ac:spMkLst>
            <pc:docMk/>
            <pc:sldMk cId="1184884871" sldId="639"/>
            <ac:spMk id="47" creationId="{063DE5D2-7FDF-D2A9-1F7E-77D9FD8BC084}"/>
          </ac:spMkLst>
        </pc:spChg>
        <pc:spChg chg="add del mod topLvl">
          <ac:chgData name="miraj sinya" userId="9f99502c73333c07" providerId="LiveId" clId="{1B2898EF-2D25-40F5-B0FA-55D6DBAA7B11}" dt="2023-11-13T00:35:57.653" v="759" actId="478"/>
          <ac:spMkLst>
            <pc:docMk/>
            <pc:sldMk cId="1184884871" sldId="639"/>
            <ac:spMk id="48" creationId="{17A836ED-CB15-8FDD-7CD7-7C40BCE58BA8}"/>
          </ac:spMkLst>
        </pc:spChg>
        <pc:spChg chg="del mod">
          <ac:chgData name="miraj sinya" userId="9f99502c73333c07" providerId="LiveId" clId="{1B2898EF-2D25-40F5-B0FA-55D6DBAA7B11}" dt="2023-11-13T00:36:02.481" v="762" actId="478"/>
          <ac:spMkLst>
            <pc:docMk/>
            <pc:sldMk cId="1184884871" sldId="639"/>
            <ac:spMk id="50" creationId="{B2DAC392-F749-EA90-4932-D6041413D7C0}"/>
          </ac:spMkLst>
        </pc:spChg>
        <pc:spChg chg="del mod">
          <ac:chgData name="miraj sinya" userId="9f99502c73333c07" providerId="LiveId" clId="{1B2898EF-2D25-40F5-B0FA-55D6DBAA7B11}" dt="2023-11-13T00:36:00.112" v="761" actId="478"/>
          <ac:spMkLst>
            <pc:docMk/>
            <pc:sldMk cId="1184884871" sldId="639"/>
            <ac:spMk id="51" creationId="{05A7468B-65B7-443F-DCF0-D603B9A87E38}"/>
          </ac:spMkLst>
        </pc:spChg>
        <pc:spChg chg="del mod ord topLvl">
          <ac:chgData name="miraj sinya" userId="9f99502c73333c07" providerId="LiveId" clId="{1B2898EF-2D25-40F5-B0FA-55D6DBAA7B11}" dt="2023-11-13T00:42:49.340" v="841" actId="478"/>
          <ac:spMkLst>
            <pc:docMk/>
            <pc:sldMk cId="1184884871" sldId="639"/>
            <ac:spMk id="52" creationId="{E8CD56CA-739E-FFC8-3391-AF8A828C11BD}"/>
          </ac:spMkLst>
        </pc:spChg>
        <pc:spChg chg="del mod topLvl">
          <ac:chgData name="miraj sinya" userId="9f99502c73333c07" providerId="LiveId" clId="{1B2898EF-2D25-40F5-B0FA-55D6DBAA7B11}" dt="2023-11-13T03:21:06.544" v="1255" actId="478"/>
          <ac:spMkLst>
            <pc:docMk/>
            <pc:sldMk cId="1184884871" sldId="639"/>
            <ac:spMk id="53" creationId="{04827F38-AFCA-AA23-5A08-047769B7F99D}"/>
          </ac:spMkLst>
        </pc:spChg>
        <pc:spChg chg="del mod topLvl">
          <ac:chgData name="miraj sinya" userId="9f99502c73333c07" providerId="LiveId" clId="{1B2898EF-2D25-40F5-B0FA-55D6DBAA7B11}" dt="2023-11-13T03:21:06.544" v="1255" actId="478"/>
          <ac:spMkLst>
            <pc:docMk/>
            <pc:sldMk cId="1184884871" sldId="639"/>
            <ac:spMk id="54" creationId="{F114D30D-22FA-46FD-205D-F2D40DC76784}"/>
          </ac:spMkLst>
        </pc:spChg>
        <pc:spChg chg="del mod topLvl">
          <ac:chgData name="miraj sinya" userId="9f99502c73333c07" providerId="LiveId" clId="{1B2898EF-2D25-40F5-B0FA-55D6DBAA7B11}" dt="2023-11-13T03:21:06.544" v="1255" actId="478"/>
          <ac:spMkLst>
            <pc:docMk/>
            <pc:sldMk cId="1184884871" sldId="639"/>
            <ac:spMk id="55" creationId="{A93A7499-5BD5-1D2D-B671-E18D1ABC765C}"/>
          </ac:spMkLst>
        </pc:spChg>
        <pc:spChg chg="mod">
          <ac:chgData name="miraj sinya" userId="9f99502c73333c07" providerId="LiveId" clId="{1B2898EF-2D25-40F5-B0FA-55D6DBAA7B11}" dt="2023-11-13T00:12:10.293" v="316" actId="165"/>
          <ac:spMkLst>
            <pc:docMk/>
            <pc:sldMk cId="1184884871" sldId="639"/>
            <ac:spMk id="56" creationId="{63CA1EC3-04FC-809B-F513-72EA8977AF88}"/>
          </ac:spMkLst>
        </pc:spChg>
        <pc:spChg chg="mod">
          <ac:chgData name="miraj sinya" userId="9f99502c73333c07" providerId="LiveId" clId="{1B2898EF-2D25-40F5-B0FA-55D6DBAA7B11}" dt="2023-11-13T00:12:10.293" v="316" actId="165"/>
          <ac:spMkLst>
            <pc:docMk/>
            <pc:sldMk cId="1184884871" sldId="639"/>
            <ac:spMk id="57" creationId="{1689EAB5-3428-413F-9697-89FAAD856367}"/>
          </ac:spMkLst>
        </pc:spChg>
        <pc:spChg chg="mod">
          <ac:chgData name="miraj sinya" userId="9f99502c73333c07" providerId="LiveId" clId="{1B2898EF-2D25-40F5-B0FA-55D6DBAA7B11}" dt="2023-11-13T00:11:39.085" v="309"/>
          <ac:spMkLst>
            <pc:docMk/>
            <pc:sldMk cId="1184884871" sldId="639"/>
            <ac:spMk id="59" creationId="{3B8A789C-44BD-DCEA-604A-36C2556F3CDB}"/>
          </ac:spMkLst>
        </pc:spChg>
        <pc:spChg chg="mod">
          <ac:chgData name="miraj sinya" userId="9f99502c73333c07" providerId="LiveId" clId="{1B2898EF-2D25-40F5-B0FA-55D6DBAA7B11}" dt="2023-11-13T00:11:49.448" v="310"/>
          <ac:spMkLst>
            <pc:docMk/>
            <pc:sldMk cId="1184884871" sldId="639"/>
            <ac:spMk id="62" creationId="{0C6A4A13-0F8D-0494-0C22-B31F8DFFBEA7}"/>
          </ac:spMkLst>
        </pc:spChg>
        <pc:spChg chg="mod">
          <ac:chgData name="miraj sinya" userId="9f99502c73333c07" providerId="LiveId" clId="{1B2898EF-2D25-40F5-B0FA-55D6DBAA7B11}" dt="2023-11-13T03:30:00.881" v="1436" actId="404"/>
          <ac:spMkLst>
            <pc:docMk/>
            <pc:sldMk cId="1184884871" sldId="639"/>
            <ac:spMk id="65" creationId="{19FB53DD-2BE0-784B-C9F2-ABD840A0A42C}"/>
          </ac:spMkLst>
        </pc:spChg>
        <pc:spChg chg="mod">
          <ac:chgData name="miraj sinya" userId="9f99502c73333c07" providerId="LiveId" clId="{1B2898EF-2D25-40F5-B0FA-55D6DBAA7B11}" dt="2023-11-13T03:30:00.881" v="1436" actId="404"/>
          <ac:spMkLst>
            <pc:docMk/>
            <pc:sldMk cId="1184884871" sldId="639"/>
            <ac:spMk id="68" creationId="{38E2F3B4-794A-839E-7C5C-817CAA46D817}"/>
          </ac:spMkLst>
        </pc:spChg>
        <pc:spChg chg="add del mod">
          <ac:chgData name="miraj sinya" userId="9f99502c73333c07" providerId="LiveId" clId="{1B2898EF-2D25-40F5-B0FA-55D6DBAA7B11}" dt="2023-11-13T00:26:27.355" v="562" actId="478"/>
          <ac:spMkLst>
            <pc:docMk/>
            <pc:sldMk cId="1184884871" sldId="639"/>
            <ac:spMk id="70" creationId="{D86068A3-5EE1-04F1-C9E0-073395EF0D75}"/>
          </ac:spMkLst>
        </pc:spChg>
        <pc:spChg chg="add del mod">
          <ac:chgData name="miraj sinya" userId="9f99502c73333c07" providerId="LiveId" clId="{1B2898EF-2D25-40F5-B0FA-55D6DBAA7B11}" dt="2023-11-13T00:31:36.098" v="727" actId="478"/>
          <ac:spMkLst>
            <pc:docMk/>
            <pc:sldMk cId="1184884871" sldId="639"/>
            <ac:spMk id="71" creationId="{B4B7A232-3112-10E1-4153-B39B8FBBC9B6}"/>
          </ac:spMkLst>
        </pc:spChg>
        <pc:spChg chg="add mod topLvl">
          <ac:chgData name="miraj sinya" userId="9f99502c73333c07" providerId="LiveId" clId="{1B2898EF-2D25-40F5-B0FA-55D6DBAA7B11}" dt="2023-11-13T05:11:56.198" v="3062" actId="164"/>
          <ac:spMkLst>
            <pc:docMk/>
            <pc:sldMk cId="1184884871" sldId="639"/>
            <ac:spMk id="72" creationId="{C5A03A19-CCC4-1619-1E8F-7BFA37864BC2}"/>
          </ac:spMkLst>
        </pc:spChg>
        <pc:spChg chg="add mod ord topLvl">
          <ac:chgData name="miraj sinya" userId="9f99502c73333c07" providerId="LiveId" clId="{1B2898EF-2D25-40F5-B0FA-55D6DBAA7B11}" dt="2023-11-13T05:11:56.198" v="3062" actId="164"/>
          <ac:spMkLst>
            <pc:docMk/>
            <pc:sldMk cId="1184884871" sldId="639"/>
            <ac:spMk id="73" creationId="{0B0CFEFC-3C64-163A-6E06-35182CF99097}"/>
          </ac:spMkLst>
        </pc:spChg>
        <pc:spChg chg="add mod topLvl">
          <ac:chgData name="miraj sinya" userId="9f99502c73333c07" providerId="LiveId" clId="{1B2898EF-2D25-40F5-B0FA-55D6DBAA7B11}" dt="2023-11-13T05:11:56.198" v="3062" actId="164"/>
          <ac:spMkLst>
            <pc:docMk/>
            <pc:sldMk cId="1184884871" sldId="639"/>
            <ac:spMk id="75" creationId="{EDE135B7-BE7D-C471-8D4B-C552FBE8878B}"/>
          </ac:spMkLst>
        </pc:spChg>
        <pc:spChg chg="add mod">
          <ac:chgData name="miraj sinya" userId="9f99502c73333c07" providerId="LiveId" clId="{1B2898EF-2D25-40F5-B0FA-55D6DBAA7B11}" dt="2023-11-13T05:11:49.651" v="3061" actId="165"/>
          <ac:spMkLst>
            <pc:docMk/>
            <pc:sldMk cId="1184884871" sldId="639"/>
            <ac:spMk id="76" creationId="{AD95EA41-F21D-88C3-4FEC-A3E90B1A483D}"/>
          </ac:spMkLst>
        </pc:spChg>
        <pc:spChg chg="add mod topLvl">
          <ac:chgData name="miraj sinya" userId="9f99502c73333c07" providerId="LiveId" clId="{1B2898EF-2D25-40F5-B0FA-55D6DBAA7B11}" dt="2023-11-13T05:11:56.198" v="3062" actId="164"/>
          <ac:spMkLst>
            <pc:docMk/>
            <pc:sldMk cId="1184884871" sldId="639"/>
            <ac:spMk id="77" creationId="{8D17EDA9-1791-E364-7E75-1AB06709E60E}"/>
          </ac:spMkLst>
        </pc:spChg>
        <pc:spChg chg="add mod ord">
          <ac:chgData name="miraj sinya" userId="9f99502c73333c07" providerId="LiveId" clId="{1B2898EF-2D25-40F5-B0FA-55D6DBAA7B11}" dt="2023-11-13T05:11:49.651" v="3061" actId="165"/>
          <ac:spMkLst>
            <pc:docMk/>
            <pc:sldMk cId="1184884871" sldId="639"/>
            <ac:spMk id="81" creationId="{22276677-B73D-A8E3-7DC8-729041EF94B9}"/>
          </ac:spMkLst>
        </pc:spChg>
        <pc:spChg chg="add mod topLvl">
          <ac:chgData name="miraj sinya" userId="9f99502c73333c07" providerId="LiveId" clId="{1B2898EF-2D25-40F5-B0FA-55D6DBAA7B11}" dt="2023-11-13T05:11:56.198" v="3062" actId="164"/>
          <ac:spMkLst>
            <pc:docMk/>
            <pc:sldMk cId="1184884871" sldId="639"/>
            <ac:spMk id="82" creationId="{A3D82430-26B0-9A33-318E-E220A859D2CA}"/>
          </ac:spMkLst>
        </pc:spChg>
        <pc:spChg chg="add mod topLvl">
          <ac:chgData name="miraj sinya" userId="9f99502c73333c07" providerId="LiveId" clId="{1B2898EF-2D25-40F5-B0FA-55D6DBAA7B11}" dt="2023-11-13T05:35:29.859" v="3646" actId="207"/>
          <ac:spMkLst>
            <pc:docMk/>
            <pc:sldMk cId="1184884871" sldId="639"/>
            <ac:spMk id="83" creationId="{E69D2F4D-E174-6CE4-C159-2CC695BC965D}"/>
          </ac:spMkLst>
        </pc:spChg>
        <pc:spChg chg="add mod">
          <ac:chgData name="miraj sinya" userId="9f99502c73333c07" providerId="LiveId" clId="{1B2898EF-2D25-40F5-B0FA-55D6DBAA7B11}" dt="2023-11-13T00:42:33.970" v="839"/>
          <ac:spMkLst>
            <pc:docMk/>
            <pc:sldMk cId="1184884871" sldId="639"/>
            <ac:spMk id="86" creationId="{5EC9B854-F7C5-465F-05D2-66D82151D1BF}"/>
          </ac:spMkLst>
        </pc:spChg>
        <pc:spChg chg="add mod topLvl">
          <ac:chgData name="miraj sinya" userId="9f99502c73333c07" providerId="LiveId" clId="{1B2898EF-2D25-40F5-B0FA-55D6DBAA7B11}" dt="2023-11-13T05:11:56.198" v="3062" actId="164"/>
          <ac:spMkLst>
            <pc:docMk/>
            <pc:sldMk cId="1184884871" sldId="639"/>
            <ac:spMk id="87" creationId="{9CE86D58-3AB2-14A4-3D70-36B4FFFB06A7}"/>
          </ac:spMkLst>
        </pc:spChg>
        <pc:spChg chg="add mod ord topLvl">
          <ac:chgData name="miraj sinya" userId="9f99502c73333c07" providerId="LiveId" clId="{1B2898EF-2D25-40F5-B0FA-55D6DBAA7B11}" dt="2023-11-13T05:11:56.198" v="3062" actId="164"/>
          <ac:spMkLst>
            <pc:docMk/>
            <pc:sldMk cId="1184884871" sldId="639"/>
            <ac:spMk id="91" creationId="{82382FF4-2D98-61AF-23AD-8637E0328A91}"/>
          </ac:spMkLst>
        </pc:spChg>
        <pc:spChg chg="add del mod ord">
          <ac:chgData name="miraj sinya" userId="9f99502c73333c07" providerId="LiveId" clId="{1B2898EF-2D25-40F5-B0FA-55D6DBAA7B11}" dt="2023-11-13T02:59:09.046" v="999" actId="478"/>
          <ac:spMkLst>
            <pc:docMk/>
            <pc:sldMk cId="1184884871" sldId="639"/>
            <ac:spMk id="92" creationId="{C1CDE711-1E74-5819-C90B-337D6CAEBBBB}"/>
          </ac:spMkLst>
        </pc:spChg>
        <pc:spChg chg="add del mod">
          <ac:chgData name="miraj sinya" userId="9f99502c73333c07" providerId="LiveId" clId="{1B2898EF-2D25-40F5-B0FA-55D6DBAA7B11}" dt="2023-11-13T03:14:14.866" v="1121" actId="478"/>
          <ac:spMkLst>
            <pc:docMk/>
            <pc:sldMk cId="1184884871" sldId="639"/>
            <ac:spMk id="149" creationId="{5BA8B759-64A2-7165-B7FF-5D074C8338F1}"/>
          </ac:spMkLst>
        </pc:spChg>
        <pc:spChg chg="add mod topLvl">
          <ac:chgData name="miraj sinya" userId="9f99502c73333c07" providerId="LiveId" clId="{1B2898EF-2D25-40F5-B0FA-55D6DBAA7B11}" dt="2023-11-13T05:11:56.198" v="3062" actId="164"/>
          <ac:spMkLst>
            <pc:docMk/>
            <pc:sldMk cId="1184884871" sldId="639"/>
            <ac:spMk id="150" creationId="{A5E22513-E0B5-602E-5BF7-9227A660CDFE}"/>
          </ac:spMkLst>
        </pc:spChg>
        <pc:spChg chg="add mod topLvl">
          <ac:chgData name="miraj sinya" userId="9f99502c73333c07" providerId="LiveId" clId="{1B2898EF-2D25-40F5-B0FA-55D6DBAA7B11}" dt="2023-11-13T05:11:56.198" v="3062" actId="164"/>
          <ac:spMkLst>
            <pc:docMk/>
            <pc:sldMk cId="1184884871" sldId="639"/>
            <ac:spMk id="151" creationId="{59EC0D48-6E66-6486-3940-42FC69C6C9E6}"/>
          </ac:spMkLst>
        </pc:spChg>
        <pc:spChg chg="add mod topLvl">
          <ac:chgData name="miraj sinya" userId="9f99502c73333c07" providerId="LiveId" clId="{1B2898EF-2D25-40F5-B0FA-55D6DBAA7B11}" dt="2023-11-13T05:11:56.198" v="3062" actId="164"/>
          <ac:spMkLst>
            <pc:docMk/>
            <pc:sldMk cId="1184884871" sldId="639"/>
            <ac:spMk id="152" creationId="{E905CD92-8C9C-21DA-EE2A-2CCC303FCFCC}"/>
          </ac:spMkLst>
        </pc:spChg>
        <pc:spChg chg="add mod topLvl">
          <ac:chgData name="miraj sinya" userId="9f99502c73333c07" providerId="LiveId" clId="{1B2898EF-2D25-40F5-B0FA-55D6DBAA7B11}" dt="2023-11-13T05:11:56.198" v="3062" actId="164"/>
          <ac:spMkLst>
            <pc:docMk/>
            <pc:sldMk cId="1184884871" sldId="639"/>
            <ac:spMk id="153" creationId="{00263202-ED11-1BD2-9B0B-E0DD12A07A8E}"/>
          </ac:spMkLst>
        </pc:spChg>
        <pc:spChg chg="add mod topLvl">
          <ac:chgData name="miraj sinya" userId="9f99502c73333c07" providerId="LiveId" clId="{1B2898EF-2D25-40F5-B0FA-55D6DBAA7B11}" dt="2023-11-13T05:11:56.198" v="3062" actId="164"/>
          <ac:spMkLst>
            <pc:docMk/>
            <pc:sldMk cId="1184884871" sldId="639"/>
            <ac:spMk id="154" creationId="{3A16C758-CB51-7FA6-8B4D-1F115B6995EE}"/>
          </ac:spMkLst>
        </pc:spChg>
        <pc:spChg chg="add mod topLvl">
          <ac:chgData name="miraj sinya" userId="9f99502c73333c07" providerId="LiveId" clId="{1B2898EF-2D25-40F5-B0FA-55D6DBAA7B11}" dt="2023-11-13T05:11:56.198" v="3062" actId="164"/>
          <ac:spMkLst>
            <pc:docMk/>
            <pc:sldMk cId="1184884871" sldId="639"/>
            <ac:spMk id="155" creationId="{0C94BDB0-4843-CB06-A087-4BFE849D4225}"/>
          </ac:spMkLst>
        </pc:spChg>
        <pc:spChg chg="add mod topLvl">
          <ac:chgData name="miraj sinya" userId="9f99502c73333c07" providerId="LiveId" clId="{1B2898EF-2D25-40F5-B0FA-55D6DBAA7B11}" dt="2023-11-13T05:11:56.198" v="3062" actId="164"/>
          <ac:spMkLst>
            <pc:docMk/>
            <pc:sldMk cId="1184884871" sldId="639"/>
            <ac:spMk id="156" creationId="{E6F5E276-A1BA-844D-C844-2ABABE474C8F}"/>
          </ac:spMkLst>
        </pc:spChg>
        <pc:spChg chg="add mod topLvl">
          <ac:chgData name="miraj sinya" userId="9f99502c73333c07" providerId="LiveId" clId="{1B2898EF-2D25-40F5-B0FA-55D6DBAA7B11}" dt="2023-11-13T05:11:56.198" v="3062" actId="164"/>
          <ac:spMkLst>
            <pc:docMk/>
            <pc:sldMk cId="1184884871" sldId="639"/>
            <ac:spMk id="157" creationId="{9989F204-332A-7015-0462-3468051FDD75}"/>
          </ac:spMkLst>
        </pc:spChg>
        <pc:spChg chg="add del mod">
          <ac:chgData name="miraj sinya" userId="9f99502c73333c07" providerId="LiveId" clId="{1B2898EF-2D25-40F5-B0FA-55D6DBAA7B11}" dt="2023-11-13T03:50:15.109" v="1599" actId="478"/>
          <ac:spMkLst>
            <pc:docMk/>
            <pc:sldMk cId="1184884871" sldId="639"/>
            <ac:spMk id="159" creationId="{CFA95CC0-9AF8-E29B-7FCD-AC4504553A79}"/>
          </ac:spMkLst>
        </pc:spChg>
        <pc:spChg chg="add mod">
          <ac:chgData name="miraj sinya" userId="9f99502c73333c07" providerId="LiveId" clId="{1B2898EF-2D25-40F5-B0FA-55D6DBAA7B11}" dt="2023-11-13T05:11:49.651" v="3061" actId="165"/>
          <ac:spMkLst>
            <pc:docMk/>
            <pc:sldMk cId="1184884871" sldId="639"/>
            <ac:spMk id="160" creationId="{A410AEC4-AB8F-8044-0CFB-02809AF044CA}"/>
          </ac:spMkLst>
        </pc:spChg>
        <pc:spChg chg="add mod">
          <ac:chgData name="miraj sinya" userId="9f99502c73333c07" providerId="LiveId" clId="{1B2898EF-2D25-40F5-B0FA-55D6DBAA7B11}" dt="2023-11-13T05:11:49.651" v="3061" actId="165"/>
          <ac:spMkLst>
            <pc:docMk/>
            <pc:sldMk cId="1184884871" sldId="639"/>
            <ac:spMk id="164" creationId="{B6EC403A-8615-33F2-720E-524F42A21727}"/>
          </ac:spMkLst>
        </pc:spChg>
        <pc:spChg chg="add mod topLvl">
          <ac:chgData name="miraj sinya" userId="9f99502c73333c07" providerId="LiveId" clId="{1B2898EF-2D25-40F5-B0FA-55D6DBAA7B11}" dt="2023-11-13T05:12:40.227" v="3073" actId="20577"/>
          <ac:spMkLst>
            <pc:docMk/>
            <pc:sldMk cId="1184884871" sldId="639"/>
            <ac:spMk id="165" creationId="{4492B261-50C0-D6B6-3C27-A8C404EF0D80}"/>
          </ac:spMkLst>
        </pc:spChg>
        <pc:spChg chg="add mod topLvl">
          <ac:chgData name="miraj sinya" userId="9f99502c73333c07" providerId="LiveId" clId="{1B2898EF-2D25-40F5-B0FA-55D6DBAA7B11}" dt="2023-11-13T05:11:49.651" v="3061" actId="165"/>
          <ac:spMkLst>
            <pc:docMk/>
            <pc:sldMk cId="1184884871" sldId="639"/>
            <ac:spMk id="176" creationId="{077EFBB0-D5A1-CB2B-C8A6-808F5D826300}"/>
          </ac:spMkLst>
        </pc:spChg>
        <pc:spChg chg="add mod topLvl">
          <ac:chgData name="miraj sinya" userId="9f99502c73333c07" providerId="LiveId" clId="{1B2898EF-2D25-40F5-B0FA-55D6DBAA7B11}" dt="2023-11-13T05:11:56.198" v="3062" actId="164"/>
          <ac:spMkLst>
            <pc:docMk/>
            <pc:sldMk cId="1184884871" sldId="639"/>
            <ac:spMk id="177" creationId="{210180B1-B554-9EBB-06F0-3333EBE6CE6D}"/>
          </ac:spMkLst>
        </pc:spChg>
        <pc:spChg chg="add mod">
          <ac:chgData name="miraj sinya" userId="9f99502c73333c07" providerId="LiveId" clId="{1B2898EF-2D25-40F5-B0FA-55D6DBAA7B11}" dt="2023-11-13T05:11:49.651" v="3061" actId="165"/>
          <ac:spMkLst>
            <pc:docMk/>
            <pc:sldMk cId="1184884871" sldId="639"/>
            <ac:spMk id="178" creationId="{80D6E062-C375-271D-1578-0EBC9A65C60D}"/>
          </ac:spMkLst>
        </pc:spChg>
        <pc:spChg chg="add mod">
          <ac:chgData name="miraj sinya" userId="9f99502c73333c07" providerId="LiveId" clId="{1B2898EF-2D25-40F5-B0FA-55D6DBAA7B11}" dt="2023-11-13T05:31:12.305" v="3599" actId="20577"/>
          <ac:spMkLst>
            <pc:docMk/>
            <pc:sldMk cId="1184884871" sldId="639"/>
            <ac:spMk id="180" creationId="{95940763-A564-F709-E711-242503887749}"/>
          </ac:spMkLst>
        </pc:spChg>
        <pc:spChg chg="add mod">
          <ac:chgData name="miraj sinya" userId="9f99502c73333c07" providerId="LiveId" clId="{1B2898EF-2D25-40F5-B0FA-55D6DBAA7B11}" dt="2023-11-13T05:32:05.428" v="3636" actId="1035"/>
          <ac:spMkLst>
            <pc:docMk/>
            <pc:sldMk cId="1184884871" sldId="639"/>
            <ac:spMk id="182" creationId="{51C8A7FA-5244-0BC6-60A6-35E3B11C47ED}"/>
          </ac:spMkLst>
        </pc:spChg>
        <pc:spChg chg="add mod">
          <ac:chgData name="miraj sinya" userId="9f99502c73333c07" providerId="LiveId" clId="{1B2898EF-2D25-40F5-B0FA-55D6DBAA7B11}" dt="2023-11-13T05:32:05.428" v="3636" actId="1035"/>
          <ac:spMkLst>
            <pc:docMk/>
            <pc:sldMk cId="1184884871" sldId="639"/>
            <ac:spMk id="183" creationId="{5D2E0A6F-11DF-3897-5C03-9983CE659E97}"/>
          </ac:spMkLst>
        </pc:spChg>
        <pc:spChg chg="add mod">
          <ac:chgData name="miraj sinya" userId="9f99502c73333c07" providerId="LiveId" clId="{1B2898EF-2D25-40F5-B0FA-55D6DBAA7B11}" dt="2023-11-13T05:31:28.962" v="3602" actId="14100"/>
          <ac:spMkLst>
            <pc:docMk/>
            <pc:sldMk cId="1184884871" sldId="639"/>
            <ac:spMk id="185" creationId="{5E02C9B9-8341-368A-0C3F-F3E9D772930E}"/>
          </ac:spMkLst>
        </pc:spChg>
        <pc:spChg chg="add mod">
          <ac:chgData name="miraj sinya" userId="9f99502c73333c07" providerId="LiveId" clId="{1B2898EF-2D25-40F5-B0FA-55D6DBAA7B11}" dt="2023-11-13T05:32:28.008" v="3639" actId="1076"/>
          <ac:spMkLst>
            <pc:docMk/>
            <pc:sldMk cId="1184884871" sldId="639"/>
            <ac:spMk id="186" creationId="{D90A5ECD-B91D-F5A7-FD68-249BDD6C3E3C}"/>
          </ac:spMkLst>
        </pc:spChg>
        <pc:grpChg chg="add del mod">
          <ac:chgData name="miraj sinya" userId="9f99502c73333c07" providerId="LiveId" clId="{1B2898EF-2D25-40F5-B0FA-55D6DBAA7B11}" dt="2023-11-13T00:12:08.915" v="315" actId="165"/>
          <ac:grpSpMkLst>
            <pc:docMk/>
            <pc:sldMk cId="1184884871" sldId="639"/>
            <ac:grpSpMk id="4" creationId="{AE9445A1-3D15-DFBB-FF2D-869BB2D9F603}"/>
          </ac:grpSpMkLst>
        </pc:grpChg>
        <pc:grpChg chg="del mod topLvl">
          <ac:chgData name="miraj sinya" userId="9f99502c73333c07" providerId="LiveId" clId="{1B2898EF-2D25-40F5-B0FA-55D6DBAA7B11}" dt="2023-11-13T00:12:10.293" v="316" actId="165"/>
          <ac:grpSpMkLst>
            <pc:docMk/>
            <pc:sldMk cId="1184884871" sldId="639"/>
            <ac:grpSpMk id="5" creationId="{B35889D7-2C49-C193-A869-F94375AD7D1F}"/>
          </ac:grpSpMkLst>
        </pc:grpChg>
        <pc:grpChg chg="del mod topLvl">
          <ac:chgData name="miraj sinya" userId="9f99502c73333c07" providerId="LiveId" clId="{1B2898EF-2D25-40F5-B0FA-55D6DBAA7B11}" dt="2023-11-13T00:12:10.293" v="316" actId="165"/>
          <ac:grpSpMkLst>
            <pc:docMk/>
            <pc:sldMk cId="1184884871" sldId="639"/>
            <ac:grpSpMk id="6" creationId="{BAA297B9-F51F-534D-3863-3311474E49FA}"/>
          </ac:grpSpMkLst>
        </pc:grpChg>
        <pc:grpChg chg="del mod topLvl">
          <ac:chgData name="miraj sinya" userId="9f99502c73333c07" providerId="LiveId" clId="{1B2898EF-2D25-40F5-B0FA-55D6DBAA7B11}" dt="2023-11-13T00:12:10.728" v="317" actId="165"/>
          <ac:grpSpMkLst>
            <pc:docMk/>
            <pc:sldMk cId="1184884871" sldId="639"/>
            <ac:grpSpMk id="7" creationId="{75531EC3-6DF7-D1D8-8285-098927DDC3D4}"/>
          </ac:grpSpMkLst>
        </pc:grpChg>
        <pc:grpChg chg="del mod topLvl">
          <ac:chgData name="miraj sinya" userId="9f99502c73333c07" providerId="LiveId" clId="{1B2898EF-2D25-40F5-B0FA-55D6DBAA7B11}" dt="2023-11-13T00:12:10.728" v="317" actId="165"/>
          <ac:grpSpMkLst>
            <pc:docMk/>
            <pc:sldMk cId="1184884871" sldId="639"/>
            <ac:grpSpMk id="8" creationId="{0C87DD1F-1B33-6DEA-F1FE-5A995D4DFDCB}"/>
          </ac:grpSpMkLst>
        </pc:grpChg>
        <pc:grpChg chg="del mod topLvl">
          <ac:chgData name="miraj sinya" userId="9f99502c73333c07" providerId="LiveId" clId="{1B2898EF-2D25-40F5-B0FA-55D6DBAA7B11}" dt="2023-11-13T00:12:11.022" v="318" actId="165"/>
          <ac:grpSpMkLst>
            <pc:docMk/>
            <pc:sldMk cId="1184884871" sldId="639"/>
            <ac:grpSpMk id="11" creationId="{C791B119-452E-DDC7-7905-0A02528DEE9C}"/>
          </ac:grpSpMkLst>
        </pc:grpChg>
        <pc:grpChg chg="del mod topLvl">
          <ac:chgData name="miraj sinya" userId="9f99502c73333c07" providerId="LiveId" clId="{1B2898EF-2D25-40F5-B0FA-55D6DBAA7B11}" dt="2023-11-13T00:12:11.317" v="319" actId="165"/>
          <ac:grpSpMkLst>
            <pc:docMk/>
            <pc:sldMk cId="1184884871" sldId="639"/>
            <ac:grpSpMk id="13" creationId="{14842029-6054-3838-B779-EA86D9B8E16E}"/>
          </ac:grpSpMkLst>
        </pc:grpChg>
        <pc:grpChg chg="del mod topLvl">
          <ac:chgData name="miraj sinya" userId="9f99502c73333c07" providerId="LiveId" clId="{1B2898EF-2D25-40F5-B0FA-55D6DBAA7B11}" dt="2023-11-13T00:12:11.317" v="319" actId="165"/>
          <ac:grpSpMkLst>
            <pc:docMk/>
            <pc:sldMk cId="1184884871" sldId="639"/>
            <ac:grpSpMk id="14" creationId="{5DCBA0E6-AD76-59CA-C923-141A6ADF99B2}"/>
          </ac:grpSpMkLst>
        </pc:grpChg>
        <pc:grpChg chg="del mod topLvl">
          <ac:chgData name="miraj sinya" userId="9f99502c73333c07" providerId="LiveId" clId="{1B2898EF-2D25-40F5-B0FA-55D6DBAA7B11}" dt="2023-11-13T00:12:11.317" v="319" actId="165"/>
          <ac:grpSpMkLst>
            <pc:docMk/>
            <pc:sldMk cId="1184884871" sldId="639"/>
            <ac:grpSpMk id="17" creationId="{44A4E762-522C-48B1-2EEC-4C590AAEFF78}"/>
          </ac:grpSpMkLst>
        </pc:grpChg>
        <pc:grpChg chg="del mod topLvl">
          <ac:chgData name="miraj sinya" userId="9f99502c73333c07" providerId="LiveId" clId="{1B2898EF-2D25-40F5-B0FA-55D6DBAA7B11}" dt="2023-11-13T00:12:11.536" v="320" actId="165"/>
          <ac:grpSpMkLst>
            <pc:docMk/>
            <pc:sldMk cId="1184884871" sldId="639"/>
            <ac:grpSpMk id="20" creationId="{9F193232-45C5-97B5-7950-AA3159A51CD8}"/>
          </ac:grpSpMkLst>
        </pc:grpChg>
        <pc:grpChg chg="del mod topLvl">
          <ac:chgData name="miraj sinya" userId="9f99502c73333c07" providerId="LiveId" clId="{1B2898EF-2D25-40F5-B0FA-55D6DBAA7B11}" dt="2023-11-13T03:21:06.544" v="1255" actId="478"/>
          <ac:grpSpMkLst>
            <pc:docMk/>
            <pc:sldMk cId="1184884871" sldId="639"/>
            <ac:grpSpMk id="29" creationId="{BFBEDF10-C7B6-3FC0-1958-47A32EB19787}"/>
          </ac:grpSpMkLst>
        </pc:grpChg>
        <pc:grpChg chg="add del mod topLvl">
          <ac:chgData name="miraj sinya" userId="9f99502c73333c07" providerId="LiveId" clId="{1B2898EF-2D25-40F5-B0FA-55D6DBAA7B11}" dt="2023-11-13T00:35:35.427" v="750" actId="165"/>
          <ac:grpSpMkLst>
            <pc:docMk/>
            <pc:sldMk cId="1184884871" sldId="639"/>
            <ac:grpSpMk id="30" creationId="{1EFF5BE0-9F61-8B4E-45CE-3EBACE68EF93}"/>
          </ac:grpSpMkLst>
        </pc:grpChg>
        <pc:grpChg chg="del mod topLvl">
          <ac:chgData name="miraj sinya" userId="9f99502c73333c07" providerId="LiveId" clId="{1B2898EF-2D25-40F5-B0FA-55D6DBAA7B11}" dt="2023-11-13T00:35:35.923" v="751" actId="165"/>
          <ac:grpSpMkLst>
            <pc:docMk/>
            <pc:sldMk cId="1184884871" sldId="639"/>
            <ac:grpSpMk id="31" creationId="{CC83535F-ACA4-6E00-C0B1-31224EC4CF97}"/>
          </ac:grpSpMkLst>
        </pc:grpChg>
        <pc:grpChg chg="del mod topLvl">
          <ac:chgData name="miraj sinya" userId="9f99502c73333c07" providerId="LiveId" clId="{1B2898EF-2D25-40F5-B0FA-55D6DBAA7B11}" dt="2023-11-13T00:35:35.923" v="751" actId="165"/>
          <ac:grpSpMkLst>
            <pc:docMk/>
            <pc:sldMk cId="1184884871" sldId="639"/>
            <ac:grpSpMk id="32" creationId="{48D24F5B-7D81-5455-2375-33399630D3B8}"/>
          </ac:grpSpMkLst>
        </pc:grpChg>
        <pc:grpChg chg="del mod topLvl">
          <ac:chgData name="miraj sinya" userId="9f99502c73333c07" providerId="LiveId" clId="{1B2898EF-2D25-40F5-B0FA-55D6DBAA7B11}" dt="2023-11-13T00:35:36.302" v="752" actId="165"/>
          <ac:grpSpMkLst>
            <pc:docMk/>
            <pc:sldMk cId="1184884871" sldId="639"/>
            <ac:grpSpMk id="35" creationId="{AA5433EC-A30A-D253-8BF6-4ED227F7AE91}"/>
          </ac:grpSpMkLst>
        </pc:grpChg>
        <pc:grpChg chg="del mod topLvl">
          <ac:chgData name="miraj sinya" userId="9f99502c73333c07" providerId="LiveId" clId="{1B2898EF-2D25-40F5-B0FA-55D6DBAA7B11}" dt="2023-11-13T00:35:36.302" v="752" actId="165"/>
          <ac:grpSpMkLst>
            <pc:docMk/>
            <pc:sldMk cId="1184884871" sldId="639"/>
            <ac:grpSpMk id="36" creationId="{092D1F90-5F75-6FBD-6DD1-ACE4DCB5F941}"/>
          </ac:grpSpMkLst>
        </pc:grpChg>
        <pc:grpChg chg="del mod topLvl">
          <ac:chgData name="miraj sinya" userId="9f99502c73333c07" providerId="LiveId" clId="{1B2898EF-2D25-40F5-B0FA-55D6DBAA7B11}" dt="2023-11-13T00:35:36.302" v="752" actId="165"/>
          <ac:grpSpMkLst>
            <pc:docMk/>
            <pc:sldMk cId="1184884871" sldId="639"/>
            <ac:grpSpMk id="37" creationId="{CFB12750-D3E5-5541-0B85-C764F70220F9}"/>
          </ac:grpSpMkLst>
        </pc:grpChg>
        <pc:grpChg chg="del mod topLvl">
          <ac:chgData name="miraj sinya" userId="9f99502c73333c07" providerId="LiveId" clId="{1B2898EF-2D25-40F5-B0FA-55D6DBAA7B11}" dt="2023-11-13T00:35:36.302" v="752" actId="165"/>
          <ac:grpSpMkLst>
            <pc:docMk/>
            <pc:sldMk cId="1184884871" sldId="639"/>
            <ac:grpSpMk id="38" creationId="{E9F41EB2-9EB6-24FD-7016-CFE64C39B571}"/>
          </ac:grpSpMkLst>
        </pc:grpChg>
        <pc:grpChg chg="del mod topLvl">
          <ac:chgData name="miraj sinya" userId="9f99502c73333c07" providerId="LiveId" clId="{1B2898EF-2D25-40F5-B0FA-55D6DBAA7B11}" dt="2023-11-13T03:21:06.544" v="1255" actId="478"/>
          <ac:grpSpMkLst>
            <pc:docMk/>
            <pc:sldMk cId="1184884871" sldId="639"/>
            <ac:grpSpMk id="44" creationId="{AF25E9F1-1D19-50DC-9EDF-DA0BF1F9A59C}"/>
          </ac:grpSpMkLst>
        </pc:grpChg>
        <pc:grpChg chg="add del mod topLvl">
          <ac:chgData name="miraj sinya" userId="9f99502c73333c07" providerId="LiveId" clId="{1B2898EF-2D25-40F5-B0FA-55D6DBAA7B11}" dt="2023-11-13T03:09:36.018" v="1082" actId="165"/>
          <ac:grpSpMkLst>
            <pc:docMk/>
            <pc:sldMk cId="1184884871" sldId="639"/>
            <ac:grpSpMk id="49" creationId="{70BEA887-F75E-761E-593A-C001E76A4D64}"/>
          </ac:grpSpMkLst>
        </pc:grpChg>
        <pc:grpChg chg="add del mod">
          <ac:chgData name="miraj sinya" userId="9f99502c73333c07" providerId="LiveId" clId="{1B2898EF-2D25-40F5-B0FA-55D6DBAA7B11}" dt="2023-11-13T00:22:24.629" v="323" actId="478"/>
          <ac:grpSpMkLst>
            <pc:docMk/>
            <pc:sldMk cId="1184884871" sldId="639"/>
            <ac:grpSpMk id="58" creationId="{B1350F13-AE78-8E5C-6F0F-2A099DD77D52}"/>
          </ac:grpSpMkLst>
        </pc:grpChg>
        <pc:grpChg chg="add del mod">
          <ac:chgData name="miraj sinya" userId="9f99502c73333c07" providerId="LiveId" clId="{1B2898EF-2D25-40F5-B0FA-55D6DBAA7B11}" dt="2023-11-13T00:22:24.629" v="323" actId="478"/>
          <ac:grpSpMkLst>
            <pc:docMk/>
            <pc:sldMk cId="1184884871" sldId="639"/>
            <ac:grpSpMk id="61" creationId="{2511707D-3907-FCD3-5317-213B39D58752}"/>
          </ac:grpSpMkLst>
        </pc:grpChg>
        <pc:grpChg chg="add mod">
          <ac:chgData name="miraj sinya" userId="9f99502c73333c07" providerId="LiveId" clId="{1B2898EF-2D25-40F5-B0FA-55D6DBAA7B11}" dt="2023-11-13T05:32:05.428" v="3636" actId="1035"/>
          <ac:grpSpMkLst>
            <pc:docMk/>
            <pc:sldMk cId="1184884871" sldId="639"/>
            <ac:grpSpMk id="64" creationId="{94A6FC51-2A6A-C64C-F560-E7EF57104345}"/>
          </ac:grpSpMkLst>
        </pc:grpChg>
        <pc:grpChg chg="add mod">
          <ac:chgData name="miraj sinya" userId="9f99502c73333c07" providerId="LiveId" clId="{1B2898EF-2D25-40F5-B0FA-55D6DBAA7B11}" dt="2023-11-13T05:32:05.428" v="3636" actId="1035"/>
          <ac:grpSpMkLst>
            <pc:docMk/>
            <pc:sldMk cId="1184884871" sldId="639"/>
            <ac:grpSpMk id="67" creationId="{4E32D611-33D6-3F43-CD96-33E3B70382CE}"/>
          </ac:grpSpMkLst>
        </pc:grpChg>
        <pc:grpChg chg="add mod">
          <ac:chgData name="miraj sinya" userId="9f99502c73333c07" providerId="LiveId" clId="{1B2898EF-2D25-40F5-B0FA-55D6DBAA7B11}" dt="2023-11-13T00:40:15.721" v="832" actId="164"/>
          <ac:grpSpMkLst>
            <pc:docMk/>
            <pc:sldMk cId="1184884871" sldId="639"/>
            <ac:grpSpMk id="84" creationId="{9D9E8055-C44F-A745-EB1C-A81DD0BB6209}"/>
          </ac:grpSpMkLst>
        </pc:grpChg>
        <pc:grpChg chg="add mod topLvl">
          <ac:chgData name="miraj sinya" userId="9f99502c73333c07" providerId="LiveId" clId="{1B2898EF-2D25-40F5-B0FA-55D6DBAA7B11}" dt="2023-11-13T05:11:56.198" v="3062" actId="164"/>
          <ac:grpSpMkLst>
            <pc:docMk/>
            <pc:sldMk cId="1184884871" sldId="639"/>
            <ac:grpSpMk id="88" creationId="{DC08EE69-E367-0C46-DF10-C36B54A04099}"/>
          </ac:grpSpMkLst>
        </pc:grpChg>
        <pc:grpChg chg="add del mod topLvl">
          <ac:chgData name="miraj sinya" userId="9f99502c73333c07" providerId="LiveId" clId="{1B2898EF-2D25-40F5-B0FA-55D6DBAA7B11}" dt="2023-11-13T05:11:49.651" v="3061" actId="165"/>
          <ac:grpSpMkLst>
            <pc:docMk/>
            <pc:sldMk cId="1184884871" sldId="639"/>
            <ac:grpSpMk id="89" creationId="{672F88F4-A753-8A84-C502-97AD13E7CF3A}"/>
          </ac:grpSpMkLst>
        </pc:grpChg>
        <pc:grpChg chg="add del mod">
          <ac:chgData name="miraj sinya" userId="9f99502c73333c07" providerId="LiveId" clId="{1B2898EF-2D25-40F5-B0FA-55D6DBAA7B11}" dt="2023-11-13T03:11:33.231" v="1099" actId="165"/>
          <ac:grpSpMkLst>
            <pc:docMk/>
            <pc:sldMk cId="1184884871" sldId="639"/>
            <ac:grpSpMk id="136" creationId="{D69844A8-4784-B01B-84B4-C22E5E9FCF3D}"/>
          </ac:grpSpMkLst>
        </pc:grpChg>
        <pc:grpChg chg="add del mod">
          <ac:chgData name="miraj sinya" userId="9f99502c73333c07" providerId="LiveId" clId="{1B2898EF-2D25-40F5-B0FA-55D6DBAA7B11}" dt="2023-11-13T03:23:12.057" v="1295" actId="165"/>
          <ac:grpSpMkLst>
            <pc:docMk/>
            <pc:sldMk cId="1184884871" sldId="639"/>
            <ac:grpSpMk id="158" creationId="{EF24A61D-8D59-D2CE-3947-CF352A35BBF2}"/>
          </ac:grpSpMkLst>
        </pc:grpChg>
        <pc:grpChg chg="add del mod">
          <ac:chgData name="miraj sinya" userId="9f99502c73333c07" providerId="LiveId" clId="{1B2898EF-2D25-40F5-B0FA-55D6DBAA7B11}" dt="2023-11-13T03:26:44.272" v="1375" actId="165"/>
          <ac:grpSpMkLst>
            <pc:docMk/>
            <pc:sldMk cId="1184884871" sldId="639"/>
            <ac:grpSpMk id="172" creationId="{387B9C99-A843-F8A4-07AE-596ECB748A51}"/>
          </ac:grpSpMkLst>
        </pc:grpChg>
        <pc:grpChg chg="add mod">
          <ac:chgData name="miraj sinya" userId="9f99502c73333c07" providerId="LiveId" clId="{1B2898EF-2D25-40F5-B0FA-55D6DBAA7B11}" dt="2023-11-13T05:11:49.651" v="3061" actId="165"/>
          <ac:grpSpMkLst>
            <pc:docMk/>
            <pc:sldMk cId="1184884871" sldId="639"/>
            <ac:grpSpMk id="173" creationId="{9C0B038B-2935-990C-C1C4-A4BC34754D75}"/>
          </ac:grpSpMkLst>
        </pc:grpChg>
        <pc:grpChg chg="add mod">
          <ac:chgData name="miraj sinya" userId="9f99502c73333c07" providerId="LiveId" clId="{1B2898EF-2D25-40F5-B0FA-55D6DBAA7B11}" dt="2023-11-13T05:11:49.651" v="3061" actId="165"/>
          <ac:grpSpMkLst>
            <pc:docMk/>
            <pc:sldMk cId="1184884871" sldId="639"/>
            <ac:grpSpMk id="174" creationId="{09C30D20-212D-B318-5B07-33FB0A47006F}"/>
          </ac:grpSpMkLst>
        </pc:grpChg>
        <pc:grpChg chg="add mod topLvl">
          <ac:chgData name="miraj sinya" userId="9f99502c73333c07" providerId="LiveId" clId="{1B2898EF-2D25-40F5-B0FA-55D6DBAA7B11}" dt="2023-11-13T05:11:56.198" v="3062" actId="164"/>
          <ac:grpSpMkLst>
            <pc:docMk/>
            <pc:sldMk cId="1184884871" sldId="639"/>
            <ac:grpSpMk id="175" creationId="{268D5AD8-67AD-AE21-9260-0DF8BDDC3BE0}"/>
          </ac:grpSpMkLst>
        </pc:grpChg>
        <pc:grpChg chg="add del mod">
          <ac:chgData name="miraj sinya" userId="9f99502c73333c07" providerId="LiveId" clId="{1B2898EF-2D25-40F5-B0FA-55D6DBAA7B11}" dt="2023-11-13T03:37:24.104" v="1528" actId="165"/>
          <ac:grpSpMkLst>
            <pc:docMk/>
            <pc:sldMk cId="1184884871" sldId="639"/>
            <ac:grpSpMk id="179" creationId="{DD052208-E183-7100-82F3-2DEA6DF58772}"/>
          </ac:grpSpMkLst>
        </pc:grpChg>
        <pc:grpChg chg="add del mod">
          <ac:chgData name="miraj sinya" userId="9f99502c73333c07" providerId="LiveId" clId="{1B2898EF-2D25-40F5-B0FA-55D6DBAA7B11}" dt="2023-11-13T04:43:05.263" v="2676" actId="165"/>
          <ac:grpSpMkLst>
            <pc:docMk/>
            <pc:sldMk cId="1184884871" sldId="639"/>
            <ac:grpSpMk id="181" creationId="{8529737B-46F3-F322-2535-EF38961B6C19}"/>
          </ac:grpSpMkLst>
        </pc:grpChg>
        <pc:grpChg chg="add mod topLvl">
          <ac:chgData name="miraj sinya" userId="9f99502c73333c07" providerId="LiveId" clId="{1B2898EF-2D25-40F5-B0FA-55D6DBAA7B11}" dt="2023-11-13T05:11:56.198" v="3062" actId="164"/>
          <ac:grpSpMkLst>
            <pc:docMk/>
            <pc:sldMk cId="1184884871" sldId="639"/>
            <ac:grpSpMk id="187" creationId="{5E01B596-B17A-7E8E-19DC-AB8DCCBA3093}"/>
          </ac:grpSpMkLst>
        </pc:grpChg>
        <pc:grpChg chg="add del mod">
          <ac:chgData name="miraj sinya" userId="9f99502c73333c07" providerId="LiveId" clId="{1B2898EF-2D25-40F5-B0FA-55D6DBAA7B11}" dt="2023-11-13T05:11:49.651" v="3061" actId="165"/>
          <ac:grpSpMkLst>
            <pc:docMk/>
            <pc:sldMk cId="1184884871" sldId="639"/>
            <ac:grpSpMk id="188" creationId="{7506B28A-1CD5-BA31-D108-294FFE01E78A}"/>
          </ac:grpSpMkLst>
        </pc:grpChg>
        <pc:grpChg chg="add mod">
          <ac:chgData name="miraj sinya" userId="9f99502c73333c07" providerId="LiveId" clId="{1B2898EF-2D25-40F5-B0FA-55D6DBAA7B11}" dt="2023-11-13T05:32:05.428" v="3636" actId="1035"/>
          <ac:grpSpMkLst>
            <pc:docMk/>
            <pc:sldMk cId="1184884871" sldId="639"/>
            <ac:grpSpMk id="189" creationId="{21E4AE07-19DF-13FB-C2CC-B69A16EFA3B0}"/>
          </ac:grpSpMkLst>
        </pc:grpChg>
        <pc:picChg chg="del mod topLvl">
          <ac:chgData name="miraj sinya" userId="9f99502c73333c07" providerId="LiveId" clId="{1B2898EF-2D25-40F5-B0FA-55D6DBAA7B11}" dt="2023-11-13T00:34:47.758" v="747" actId="478"/>
          <ac:picMkLst>
            <pc:docMk/>
            <pc:sldMk cId="1184884871" sldId="639"/>
            <ac:picMk id="10" creationId="{1A166E08-11EB-34DC-E7A9-6E5BAF668496}"/>
          </ac:picMkLst>
        </pc:picChg>
        <pc:picChg chg="del mod topLvl">
          <ac:chgData name="miraj sinya" userId="9f99502c73333c07" providerId="LiveId" clId="{1B2898EF-2D25-40F5-B0FA-55D6DBAA7B11}" dt="2023-11-13T00:24:15.014" v="485" actId="478"/>
          <ac:picMkLst>
            <pc:docMk/>
            <pc:sldMk cId="1184884871" sldId="639"/>
            <ac:picMk id="12" creationId="{7F7A2465-B6E4-7B2E-3008-E59569D103A8}"/>
          </ac:picMkLst>
        </pc:picChg>
        <pc:picChg chg="del mod topLvl">
          <ac:chgData name="miraj sinya" userId="9f99502c73333c07" providerId="LiveId" clId="{1B2898EF-2D25-40F5-B0FA-55D6DBAA7B11}" dt="2023-11-13T03:21:06.544" v="1255" actId="478"/>
          <ac:picMkLst>
            <pc:docMk/>
            <pc:sldMk cId="1184884871" sldId="639"/>
            <ac:picMk id="33" creationId="{AA39EC2C-3B88-BA45-961A-272A6EAD7753}"/>
          </ac:picMkLst>
        </pc:picChg>
        <pc:picChg chg="del mod topLvl">
          <ac:chgData name="miraj sinya" userId="9f99502c73333c07" providerId="LiveId" clId="{1B2898EF-2D25-40F5-B0FA-55D6DBAA7B11}" dt="2023-11-13T03:21:06.544" v="1255" actId="478"/>
          <ac:picMkLst>
            <pc:docMk/>
            <pc:sldMk cId="1184884871" sldId="639"/>
            <ac:picMk id="39" creationId="{939257AD-05F7-F28B-1869-205BF3ECFA15}"/>
          </ac:picMkLst>
        </pc:picChg>
        <pc:cxnChg chg="mod topLvl">
          <ac:chgData name="miraj sinya" userId="9f99502c73333c07" providerId="LiveId" clId="{1B2898EF-2D25-40F5-B0FA-55D6DBAA7B11}" dt="2023-11-13T05:11:56.198" v="3062" actId="164"/>
          <ac:cxnSpMkLst>
            <pc:docMk/>
            <pc:sldMk cId="1184884871" sldId="639"/>
            <ac:cxnSpMk id="9" creationId="{0BCFCE62-4CD6-B52E-1F5F-1BCD157AAE9D}"/>
          </ac:cxnSpMkLst>
        </pc:cxnChg>
        <pc:cxnChg chg="del mod topLvl">
          <ac:chgData name="miraj sinya" userId="9f99502c73333c07" providerId="LiveId" clId="{1B2898EF-2D25-40F5-B0FA-55D6DBAA7B11}" dt="2023-11-13T00:24:17.576" v="486" actId="478"/>
          <ac:cxnSpMkLst>
            <pc:docMk/>
            <pc:sldMk cId="1184884871" sldId="639"/>
            <ac:cxnSpMk id="15" creationId="{3E6A42B9-9A4A-276F-B393-4407984F5329}"/>
          </ac:cxnSpMkLst>
        </pc:cxnChg>
        <pc:cxnChg chg="del mod topLvl">
          <ac:chgData name="miraj sinya" userId="9f99502c73333c07" providerId="LiveId" clId="{1B2898EF-2D25-40F5-B0FA-55D6DBAA7B11}" dt="2023-11-13T00:24:15.014" v="485" actId="478"/>
          <ac:cxnSpMkLst>
            <pc:docMk/>
            <pc:sldMk cId="1184884871" sldId="639"/>
            <ac:cxnSpMk id="16" creationId="{6A3191F8-8028-E0C3-54C3-7122487D006E}"/>
          </ac:cxnSpMkLst>
        </pc:cxnChg>
        <pc:cxnChg chg="del mod topLvl">
          <ac:chgData name="miraj sinya" userId="9f99502c73333c07" providerId="LiveId" clId="{1B2898EF-2D25-40F5-B0FA-55D6DBAA7B11}" dt="2023-11-13T03:21:06.544" v="1255" actId="478"/>
          <ac:cxnSpMkLst>
            <pc:docMk/>
            <pc:sldMk cId="1184884871" sldId="639"/>
            <ac:cxnSpMk id="34" creationId="{086A4AA3-B307-6232-F5C3-B4CE6AAC500B}"/>
          </ac:cxnSpMkLst>
        </pc:cxnChg>
        <pc:cxnChg chg="mod">
          <ac:chgData name="miraj sinya" userId="9f99502c73333c07" providerId="LiveId" clId="{1B2898EF-2D25-40F5-B0FA-55D6DBAA7B11}" dt="2023-11-13T00:11:39.085" v="309"/>
          <ac:cxnSpMkLst>
            <pc:docMk/>
            <pc:sldMk cId="1184884871" sldId="639"/>
            <ac:cxnSpMk id="60" creationId="{7E99C1B5-ABE1-BDE2-7180-47B29C38E541}"/>
          </ac:cxnSpMkLst>
        </pc:cxnChg>
        <pc:cxnChg chg="mod">
          <ac:chgData name="miraj sinya" userId="9f99502c73333c07" providerId="LiveId" clId="{1B2898EF-2D25-40F5-B0FA-55D6DBAA7B11}" dt="2023-11-13T00:11:49.448" v="310"/>
          <ac:cxnSpMkLst>
            <pc:docMk/>
            <pc:sldMk cId="1184884871" sldId="639"/>
            <ac:cxnSpMk id="63" creationId="{AC9164A5-FDA7-197D-8FDF-3AB3A68BBEC9}"/>
          </ac:cxnSpMkLst>
        </pc:cxnChg>
        <pc:cxnChg chg="mod">
          <ac:chgData name="miraj sinya" userId="9f99502c73333c07" providerId="LiveId" clId="{1B2898EF-2D25-40F5-B0FA-55D6DBAA7B11}" dt="2023-11-13T03:30:00.881" v="1436" actId="404"/>
          <ac:cxnSpMkLst>
            <pc:docMk/>
            <pc:sldMk cId="1184884871" sldId="639"/>
            <ac:cxnSpMk id="66" creationId="{94743F69-DEC8-4422-7B57-C74BB4DF2807}"/>
          </ac:cxnSpMkLst>
        </pc:cxnChg>
        <pc:cxnChg chg="mod">
          <ac:chgData name="miraj sinya" userId="9f99502c73333c07" providerId="LiveId" clId="{1B2898EF-2D25-40F5-B0FA-55D6DBAA7B11}" dt="2023-11-13T03:30:00.881" v="1436" actId="404"/>
          <ac:cxnSpMkLst>
            <pc:docMk/>
            <pc:sldMk cId="1184884871" sldId="639"/>
            <ac:cxnSpMk id="69" creationId="{C50DC758-8E57-DFFB-E8C3-1AC71CF76ADD}"/>
          </ac:cxnSpMkLst>
        </pc:cxnChg>
        <pc:cxnChg chg="add del mod topLvl">
          <ac:chgData name="miraj sinya" userId="9f99502c73333c07" providerId="LiveId" clId="{1B2898EF-2D25-40F5-B0FA-55D6DBAA7B11}" dt="2023-11-13T03:24:07.236" v="1332" actId="478"/>
          <ac:cxnSpMkLst>
            <pc:docMk/>
            <pc:sldMk cId="1184884871" sldId="639"/>
            <ac:cxnSpMk id="78" creationId="{74BCFD67-E481-C943-7C25-A183D33C1D2A}"/>
          </ac:cxnSpMkLst>
        </pc:cxnChg>
        <pc:cxnChg chg="add mod topLvl">
          <ac:chgData name="miraj sinya" userId="9f99502c73333c07" providerId="LiveId" clId="{1B2898EF-2D25-40F5-B0FA-55D6DBAA7B11}" dt="2023-11-13T05:11:56.198" v="3062" actId="164"/>
          <ac:cxnSpMkLst>
            <pc:docMk/>
            <pc:sldMk cId="1184884871" sldId="639"/>
            <ac:cxnSpMk id="79" creationId="{07CA3999-76A8-293F-4A35-705987BB9150}"/>
          </ac:cxnSpMkLst>
        </pc:cxnChg>
        <pc:cxnChg chg="add del mod topLvl">
          <ac:chgData name="miraj sinya" userId="9f99502c73333c07" providerId="LiveId" clId="{1B2898EF-2D25-40F5-B0FA-55D6DBAA7B11}" dt="2023-11-13T03:24:28.997" v="1336" actId="478"/>
          <ac:cxnSpMkLst>
            <pc:docMk/>
            <pc:sldMk cId="1184884871" sldId="639"/>
            <ac:cxnSpMk id="80" creationId="{09E932A3-48A7-9C34-3547-8C7DB7CFBFAE}"/>
          </ac:cxnSpMkLst>
        </pc:cxnChg>
        <pc:cxnChg chg="add mod">
          <ac:chgData name="miraj sinya" userId="9f99502c73333c07" providerId="LiveId" clId="{1B2898EF-2D25-40F5-B0FA-55D6DBAA7B11}" dt="2023-11-13T00:40:15.181" v="829" actId="571"/>
          <ac:cxnSpMkLst>
            <pc:docMk/>
            <pc:sldMk cId="1184884871" sldId="639"/>
            <ac:cxnSpMk id="85" creationId="{23275D6F-05F3-1788-5758-098BAA054F19}"/>
          </ac:cxnSpMkLst>
        </pc:cxnChg>
        <pc:cxnChg chg="add del">
          <ac:chgData name="miraj sinya" userId="9f99502c73333c07" providerId="LiveId" clId="{1B2898EF-2D25-40F5-B0FA-55D6DBAA7B11}" dt="2023-11-13T03:00:24.358" v="1013" actId="478"/>
          <ac:cxnSpMkLst>
            <pc:docMk/>
            <pc:sldMk cId="1184884871" sldId="639"/>
            <ac:cxnSpMk id="94" creationId="{814B7B93-C072-DBA6-ED74-6DC5C94F5D60}"/>
          </ac:cxnSpMkLst>
        </pc:cxnChg>
        <pc:cxnChg chg="add mod topLvl">
          <ac:chgData name="miraj sinya" userId="9f99502c73333c07" providerId="LiveId" clId="{1B2898EF-2D25-40F5-B0FA-55D6DBAA7B11}" dt="2023-11-13T05:11:56.198" v="3062" actId="164"/>
          <ac:cxnSpMkLst>
            <pc:docMk/>
            <pc:sldMk cId="1184884871" sldId="639"/>
            <ac:cxnSpMk id="96" creationId="{BC4817FE-527C-1E11-DD37-AA896560A66E}"/>
          </ac:cxnSpMkLst>
        </pc:cxnChg>
        <pc:cxnChg chg="add mod topLvl">
          <ac:chgData name="miraj sinya" userId="9f99502c73333c07" providerId="LiveId" clId="{1B2898EF-2D25-40F5-B0FA-55D6DBAA7B11}" dt="2023-11-13T05:11:56.198" v="3062" actId="164"/>
          <ac:cxnSpMkLst>
            <pc:docMk/>
            <pc:sldMk cId="1184884871" sldId="639"/>
            <ac:cxnSpMk id="99" creationId="{AEFE3441-2E99-F5EB-CED5-AC6CD0DEB805}"/>
          </ac:cxnSpMkLst>
        </pc:cxnChg>
        <pc:cxnChg chg="add mod topLvl">
          <ac:chgData name="miraj sinya" userId="9f99502c73333c07" providerId="LiveId" clId="{1B2898EF-2D25-40F5-B0FA-55D6DBAA7B11}" dt="2023-11-13T05:11:56.198" v="3062" actId="164"/>
          <ac:cxnSpMkLst>
            <pc:docMk/>
            <pc:sldMk cId="1184884871" sldId="639"/>
            <ac:cxnSpMk id="115" creationId="{EE6272F7-FF09-7412-45AA-432F4B44B119}"/>
          </ac:cxnSpMkLst>
        </pc:cxnChg>
        <pc:cxnChg chg="add mod topLvl">
          <ac:chgData name="miraj sinya" userId="9f99502c73333c07" providerId="LiveId" clId="{1B2898EF-2D25-40F5-B0FA-55D6DBAA7B11}" dt="2023-11-13T05:11:56.198" v="3062" actId="164"/>
          <ac:cxnSpMkLst>
            <pc:docMk/>
            <pc:sldMk cId="1184884871" sldId="639"/>
            <ac:cxnSpMk id="119" creationId="{7FAFAB20-2A9F-E8ED-6BF1-DCC355039EED}"/>
          </ac:cxnSpMkLst>
        </pc:cxnChg>
        <pc:cxnChg chg="add del mod">
          <ac:chgData name="miraj sinya" userId="9f99502c73333c07" providerId="LiveId" clId="{1B2898EF-2D25-40F5-B0FA-55D6DBAA7B11}" dt="2023-11-13T03:22:03.215" v="1278" actId="478"/>
          <ac:cxnSpMkLst>
            <pc:docMk/>
            <pc:sldMk cId="1184884871" sldId="639"/>
            <ac:cxnSpMk id="161" creationId="{77A4675F-B573-95E1-577D-26036291E2E3}"/>
          </ac:cxnSpMkLst>
        </pc:cxnChg>
        <pc:cxnChg chg="add mod">
          <ac:chgData name="miraj sinya" userId="9f99502c73333c07" providerId="LiveId" clId="{1B2898EF-2D25-40F5-B0FA-55D6DBAA7B11}" dt="2023-11-13T05:11:49.651" v="3061" actId="165"/>
          <ac:cxnSpMkLst>
            <pc:docMk/>
            <pc:sldMk cId="1184884871" sldId="639"/>
            <ac:cxnSpMk id="163" creationId="{28727743-CAB9-6CC4-3971-6BA29088A6D4}"/>
          </ac:cxnSpMkLst>
        </pc:cxnChg>
        <pc:cxnChg chg="add mod topLvl">
          <ac:chgData name="miraj sinya" userId="9f99502c73333c07" providerId="LiveId" clId="{1B2898EF-2D25-40F5-B0FA-55D6DBAA7B11}" dt="2023-11-13T05:11:49.651" v="3061" actId="165"/>
          <ac:cxnSpMkLst>
            <pc:docMk/>
            <pc:sldMk cId="1184884871" sldId="639"/>
            <ac:cxnSpMk id="166" creationId="{80EEEA00-EBA0-A7E0-B49F-04E88C965F10}"/>
          </ac:cxnSpMkLst>
        </pc:cxnChg>
        <pc:cxnChg chg="add mod topLvl">
          <ac:chgData name="miraj sinya" userId="9f99502c73333c07" providerId="LiveId" clId="{1B2898EF-2D25-40F5-B0FA-55D6DBAA7B11}" dt="2023-11-13T05:11:56.198" v="3062" actId="164"/>
          <ac:cxnSpMkLst>
            <pc:docMk/>
            <pc:sldMk cId="1184884871" sldId="639"/>
            <ac:cxnSpMk id="167" creationId="{3D6BBCD9-FF01-0806-1029-B62D16915B12}"/>
          </ac:cxnSpMkLst>
        </pc:cxnChg>
        <pc:cxnChg chg="add mod topLvl">
          <ac:chgData name="miraj sinya" userId="9f99502c73333c07" providerId="LiveId" clId="{1B2898EF-2D25-40F5-B0FA-55D6DBAA7B11}" dt="2023-11-13T05:11:56.198" v="3062" actId="164"/>
          <ac:cxnSpMkLst>
            <pc:docMk/>
            <pc:sldMk cId="1184884871" sldId="639"/>
            <ac:cxnSpMk id="169" creationId="{CA3376D2-307E-C248-25EB-9E897CCBBB94}"/>
          </ac:cxnSpMkLst>
        </pc:cxnChg>
        <pc:cxnChg chg="add mod">
          <ac:chgData name="miraj sinya" userId="9f99502c73333c07" providerId="LiveId" clId="{1B2898EF-2D25-40F5-B0FA-55D6DBAA7B11}" dt="2023-11-13T05:32:15.295" v="3637" actId="465"/>
          <ac:cxnSpMkLst>
            <pc:docMk/>
            <pc:sldMk cId="1184884871" sldId="639"/>
            <ac:cxnSpMk id="184" creationId="{23EA5641-407F-F6F1-740B-2C78A8C9BE95}"/>
          </ac:cxnSpMkLst>
        </pc:cxnChg>
      </pc:sldChg>
      <pc:sldChg chg="addSp delSp modSp add del mod">
        <pc:chgData name="miraj sinya" userId="9f99502c73333c07" providerId="LiveId" clId="{1B2898EF-2D25-40F5-B0FA-55D6DBAA7B11}" dt="2023-11-13T05:36:18.582" v="3652" actId="47"/>
        <pc:sldMkLst>
          <pc:docMk/>
          <pc:sldMk cId="426031164" sldId="640"/>
        </pc:sldMkLst>
        <pc:spChg chg="mod">
          <ac:chgData name="miraj sinya" userId="9f99502c73333c07" providerId="LiveId" clId="{1B2898EF-2D25-40F5-B0FA-55D6DBAA7B11}" dt="2023-11-13T00:47:21.421" v="918" actId="20577"/>
          <ac:spMkLst>
            <pc:docMk/>
            <pc:sldMk cId="426031164" sldId="640"/>
            <ac:spMk id="2" creationId="{2BD9482C-9809-78C2-DBBB-630F5596988E}"/>
          </ac:spMkLst>
        </pc:spChg>
        <pc:spChg chg="add del">
          <ac:chgData name="miraj sinya" userId="9f99502c73333c07" providerId="LiveId" clId="{1B2898EF-2D25-40F5-B0FA-55D6DBAA7B11}" dt="2023-11-13T05:16:13.934" v="3106" actId="478"/>
          <ac:spMkLst>
            <pc:docMk/>
            <pc:sldMk cId="426031164" sldId="640"/>
            <ac:spMk id="18" creationId="{4CDD7EDA-8C8C-AD0F-5282-86227D3C00F5}"/>
          </ac:spMkLst>
        </pc:spChg>
        <pc:spChg chg="add del">
          <ac:chgData name="miraj sinya" userId="9f99502c73333c07" providerId="LiveId" clId="{1B2898EF-2D25-40F5-B0FA-55D6DBAA7B11}" dt="2023-11-13T05:16:13.934" v="3106" actId="478"/>
          <ac:spMkLst>
            <pc:docMk/>
            <pc:sldMk cId="426031164" sldId="640"/>
            <ac:spMk id="19" creationId="{FB22A53D-A04E-4953-5B43-167D0D623473}"/>
          </ac:spMkLst>
        </pc:spChg>
        <pc:spChg chg="add del">
          <ac:chgData name="miraj sinya" userId="9f99502c73333c07" providerId="LiveId" clId="{1B2898EF-2D25-40F5-B0FA-55D6DBAA7B11}" dt="2023-11-13T05:16:13.934" v="3106" actId="478"/>
          <ac:spMkLst>
            <pc:docMk/>
            <pc:sldMk cId="426031164" sldId="640"/>
            <ac:spMk id="21" creationId="{C0803D98-1DF9-CC24-344C-E496171D5A11}"/>
          </ac:spMkLst>
        </pc:spChg>
        <pc:spChg chg="add del">
          <ac:chgData name="miraj sinya" userId="9f99502c73333c07" providerId="LiveId" clId="{1B2898EF-2D25-40F5-B0FA-55D6DBAA7B11}" dt="2023-11-13T05:16:13.934" v="3106" actId="478"/>
          <ac:spMkLst>
            <pc:docMk/>
            <pc:sldMk cId="426031164" sldId="640"/>
            <ac:spMk id="22" creationId="{F9FC01F3-5DBE-BF2F-3B9D-612BD37BD42A}"/>
          </ac:spMkLst>
        </pc:spChg>
        <pc:spChg chg="add del">
          <ac:chgData name="miraj sinya" userId="9f99502c73333c07" providerId="LiveId" clId="{1B2898EF-2D25-40F5-B0FA-55D6DBAA7B11}" dt="2023-11-13T05:16:13.934" v="3106" actId="478"/>
          <ac:spMkLst>
            <pc:docMk/>
            <pc:sldMk cId="426031164" sldId="640"/>
            <ac:spMk id="23" creationId="{2255016D-FA10-A3B5-4756-9C19107C4536}"/>
          </ac:spMkLst>
        </pc:spChg>
        <pc:spChg chg="add del">
          <ac:chgData name="miraj sinya" userId="9f99502c73333c07" providerId="LiveId" clId="{1B2898EF-2D25-40F5-B0FA-55D6DBAA7B11}" dt="2023-11-13T05:16:13.934" v="3106" actId="478"/>
          <ac:spMkLst>
            <pc:docMk/>
            <pc:sldMk cId="426031164" sldId="640"/>
            <ac:spMk id="24" creationId="{06BF219B-8D1E-9BAC-8D5B-8257AADA63B7}"/>
          </ac:spMkLst>
        </pc:spChg>
        <pc:spChg chg="add del">
          <ac:chgData name="miraj sinya" userId="9f99502c73333c07" providerId="LiveId" clId="{1B2898EF-2D25-40F5-B0FA-55D6DBAA7B11}" dt="2023-11-13T05:16:13.934" v="3106" actId="478"/>
          <ac:spMkLst>
            <pc:docMk/>
            <pc:sldMk cId="426031164" sldId="640"/>
            <ac:spMk id="25" creationId="{FE19F466-67D7-344B-4BC6-2E135D578136}"/>
          </ac:spMkLst>
        </pc:spChg>
        <pc:spChg chg="add del">
          <ac:chgData name="miraj sinya" userId="9f99502c73333c07" providerId="LiveId" clId="{1B2898EF-2D25-40F5-B0FA-55D6DBAA7B11}" dt="2023-11-13T05:16:13.934" v="3106" actId="478"/>
          <ac:spMkLst>
            <pc:docMk/>
            <pc:sldMk cId="426031164" sldId="640"/>
            <ac:spMk id="26" creationId="{FC04F0CD-AF27-24D8-3E15-A23A7BA88C80}"/>
          </ac:spMkLst>
        </pc:spChg>
        <pc:grpChg chg="add del">
          <ac:chgData name="miraj sinya" userId="9f99502c73333c07" providerId="LiveId" clId="{1B2898EF-2D25-40F5-B0FA-55D6DBAA7B11}" dt="2023-11-13T05:16:13.934" v="3106" actId="478"/>
          <ac:grpSpMkLst>
            <pc:docMk/>
            <pc:sldMk cId="426031164" sldId="640"/>
            <ac:grpSpMk id="30" creationId="{1EFF5BE0-9F61-8B4E-45CE-3EBACE68EF93}"/>
          </ac:grpSpMkLst>
        </pc:grpChg>
        <pc:picChg chg="add del">
          <ac:chgData name="miraj sinya" userId="9f99502c73333c07" providerId="LiveId" clId="{1B2898EF-2D25-40F5-B0FA-55D6DBAA7B11}" dt="2023-11-13T05:16:13.934" v="3106" actId="478"/>
          <ac:picMkLst>
            <pc:docMk/>
            <pc:sldMk cId="426031164" sldId="640"/>
            <ac:picMk id="10" creationId="{1A166E08-11EB-34DC-E7A9-6E5BAF668496}"/>
          </ac:picMkLst>
        </pc:picChg>
        <pc:picChg chg="add del">
          <ac:chgData name="miraj sinya" userId="9f99502c73333c07" providerId="LiveId" clId="{1B2898EF-2D25-40F5-B0FA-55D6DBAA7B11}" dt="2023-11-13T05:16:13.934" v="3106" actId="478"/>
          <ac:picMkLst>
            <pc:docMk/>
            <pc:sldMk cId="426031164" sldId="640"/>
            <ac:picMk id="12" creationId="{7F7A2465-B6E4-7B2E-3008-E59569D103A8}"/>
          </ac:picMkLst>
        </pc:picChg>
        <pc:cxnChg chg="add del">
          <ac:chgData name="miraj sinya" userId="9f99502c73333c07" providerId="LiveId" clId="{1B2898EF-2D25-40F5-B0FA-55D6DBAA7B11}" dt="2023-11-13T05:16:13.934" v="3106" actId="478"/>
          <ac:cxnSpMkLst>
            <pc:docMk/>
            <pc:sldMk cId="426031164" sldId="640"/>
            <ac:cxnSpMk id="9" creationId="{0BCFCE62-4CD6-B52E-1F5F-1BCD157AAE9D}"/>
          </ac:cxnSpMkLst>
        </pc:cxnChg>
        <pc:cxnChg chg="add del">
          <ac:chgData name="miraj sinya" userId="9f99502c73333c07" providerId="LiveId" clId="{1B2898EF-2D25-40F5-B0FA-55D6DBAA7B11}" dt="2023-11-13T05:16:13.934" v="3106" actId="478"/>
          <ac:cxnSpMkLst>
            <pc:docMk/>
            <pc:sldMk cId="426031164" sldId="640"/>
            <ac:cxnSpMk id="15" creationId="{3E6A42B9-9A4A-276F-B393-4407984F5329}"/>
          </ac:cxnSpMkLst>
        </pc:cxnChg>
        <pc:cxnChg chg="add del mod">
          <ac:chgData name="miraj sinya" userId="9f99502c73333c07" providerId="LiveId" clId="{1B2898EF-2D25-40F5-B0FA-55D6DBAA7B11}" dt="2023-11-13T05:16:13.934" v="3106" actId="478"/>
          <ac:cxnSpMkLst>
            <pc:docMk/>
            <pc:sldMk cId="426031164" sldId="640"/>
            <ac:cxnSpMk id="16" creationId="{6A3191F8-8028-E0C3-54C3-7122487D006E}"/>
          </ac:cxnSpMkLst>
        </pc:cxnChg>
        <pc:cxnChg chg="mod">
          <ac:chgData name="miraj sinya" userId="9f99502c73333c07" providerId="LiveId" clId="{1B2898EF-2D25-40F5-B0FA-55D6DBAA7B11}" dt="2023-11-13T05:16:13.934" v="3106" actId="478"/>
          <ac:cxnSpMkLst>
            <pc:docMk/>
            <pc:sldMk cId="426031164" sldId="640"/>
            <ac:cxnSpMk id="34" creationId="{086A4AA3-B307-6232-F5C3-B4CE6AAC500B}"/>
          </ac:cxnSpMkLst>
        </pc:cxnChg>
      </pc:sldChg>
      <pc:sldChg chg="addSp delSp modSp add mod">
        <pc:chgData name="miraj sinya" userId="9f99502c73333c07" providerId="LiveId" clId="{1B2898EF-2D25-40F5-B0FA-55D6DBAA7B11}" dt="2023-11-14T00:01:56.717" v="5496" actId="20577"/>
        <pc:sldMkLst>
          <pc:docMk/>
          <pc:sldMk cId="2997694625" sldId="641"/>
        </pc:sldMkLst>
        <pc:spChg chg="mod">
          <ac:chgData name="miraj sinya" userId="9f99502c73333c07" providerId="LiveId" clId="{1B2898EF-2D25-40F5-B0FA-55D6DBAA7B11}" dt="2023-11-13T03:52:13.480" v="1661" actId="20577"/>
          <ac:spMkLst>
            <pc:docMk/>
            <pc:sldMk cId="2997694625" sldId="641"/>
            <ac:spMk id="2" creationId="{2BD9482C-9809-78C2-DBBB-630F5596988E}"/>
          </ac:spMkLst>
        </pc:spChg>
        <pc:spChg chg="add mod">
          <ac:chgData name="miraj sinya" userId="9f99502c73333c07" providerId="LiveId" clId="{1B2898EF-2D25-40F5-B0FA-55D6DBAA7B11}" dt="2023-11-13T05:23:40.276" v="3298" actId="164"/>
          <ac:spMkLst>
            <pc:docMk/>
            <pc:sldMk cId="2997694625" sldId="641"/>
            <ac:spMk id="4" creationId="{6BCDE966-E97A-791B-8865-231AF678F16A}"/>
          </ac:spMkLst>
        </pc:spChg>
        <pc:spChg chg="mod">
          <ac:chgData name="miraj sinya" userId="9f99502c73333c07" providerId="LiveId" clId="{1B2898EF-2D25-40F5-B0FA-55D6DBAA7B11}" dt="2023-11-13T04:43:14.965" v="2679"/>
          <ac:spMkLst>
            <pc:docMk/>
            <pc:sldMk cId="2997694625" sldId="641"/>
            <ac:spMk id="7" creationId="{6C060E74-135D-9D00-A060-182B3DFC107B}"/>
          </ac:spMkLst>
        </pc:spChg>
        <pc:spChg chg="mod">
          <ac:chgData name="miraj sinya" userId="9f99502c73333c07" providerId="LiveId" clId="{1B2898EF-2D25-40F5-B0FA-55D6DBAA7B11}" dt="2023-11-13T04:43:14.965" v="2679"/>
          <ac:spMkLst>
            <pc:docMk/>
            <pc:sldMk cId="2997694625" sldId="641"/>
            <ac:spMk id="8" creationId="{9405E6F8-FB0C-B5AA-2522-C28378EA6CC0}"/>
          </ac:spMkLst>
        </pc:spChg>
        <pc:spChg chg="mod ord topLvl">
          <ac:chgData name="miraj sinya" userId="9f99502c73333c07" providerId="LiveId" clId="{1B2898EF-2D25-40F5-B0FA-55D6DBAA7B11}" dt="2023-11-13T05:10:59.558" v="3054" actId="164"/>
          <ac:spMkLst>
            <pc:docMk/>
            <pc:sldMk cId="2997694625" sldId="641"/>
            <ac:spMk id="12" creationId="{C30DE5CE-97D0-A9EF-1F20-C64724617098}"/>
          </ac:spMkLst>
        </pc:spChg>
        <pc:spChg chg="mod topLvl">
          <ac:chgData name="miraj sinya" userId="9f99502c73333c07" providerId="LiveId" clId="{1B2898EF-2D25-40F5-B0FA-55D6DBAA7B11}" dt="2023-11-13T05:23:40.276" v="3298" actId="164"/>
          <ac:spMkLst>
            <pc:docMk/>
            <pc:sldMk cId="2997694625" sldId="641"/>
            <ac:spMk id="13" creationId="{BDD97CC9-B18D-CDFE-4F1E-82756C8FFA00}"/>
          </ac:spMkLst>
        </pc:spChg>
        <pc:spChg chg="mod topLvl">
          <ac:chgData name="miraj sinya" userId="9f99502c73333c07" providerId="LiveId" clId="{1B2898EF-2D25-40F5-B0FA-55D6DBAA7B11}" dt="2023-11-13T05:24:21.686" v="3307" actId="207"/>
          <ac:spMkLst>
            <pc:docMk/>
            <pc:sldMk cId="2997694625" sldId="641"/>
            <ac:spMk id="14" creationId="{86ED8D9F-E166-3C70-0511-75B76D48672E}"/>
          </ac:spMkLst>
        </pc:spChg>
        <pc:spChg chg="mod">
          <ac:chgData name="miraj sinya" userId="9f99502c73333c07" providerId="LiveId" clId="{1B2898EF-2D25-40F5-B0FA-55D6DBAA7B11}" dt="2023-11-13T05:04:35.377" v="2924" actId="14100"/>
          <ac:spMkLst>
            <pc:docMk/>
            <pc:sldMk cId="2997694625" sldId="641"/>
            <ac:spMk id="17" creationId="{EE880E46-8B0F-F359-E1DE-64A52A76CA80}"/>
          </ac:spMkLst>
        </pc:spChg>
        <pc:spChg chg="mod">
          <ac:chgData name="miraj sinya" userId="9f99502c73333c07" providerId="LiveId" clId="{1B2898EF-2D25-40F5-B0FA-55D6DBAA7B11}" dt="2023-11-13T04:42:57.179" v="2674" actId="164"/>
          <ac:spMkLst>
            <pc:docMk/>
            <pc:sldMk cId="2997694625" sldId="641"/>
            <ac:spMk id="18" creationId="{4CDD7EDA-8C8C-AD0F-5282-86227D3C00F5}"/>
          </ac:spMkLst>
        </pc:spChg>
        <pc:spChg chg="mod">
          <ac:chgData name="miraj sinya" userId="9f99502c73333c07" providerId="LiveId" clId="{1B2898EF-2D25-40F5-B0FA-55D6DBAA7B11}" dt="2023-11-13T04:42:57.179" v="2674" actId="164"/>
          <ac:spMkLst>
            <pc:docMk/>
            <pc:sldMk cId="2997694625" sldId="641"/>
            <ac:spMk id="19" creationId="{FB22A53D-A04E-4953-5B43-167D0D623473}"/>
          </ac:spMkLst>
        </pc:spChg>
        <pc:spChg chg="mod">
          <ac:chgData name="miraj sinya" userId="9f99502c73333c07" providerId="LiveId" clId="{1B2898EF-2D25-40F5-B0FA-55D6DBAA7B11}" dt="2023-11-13T04:55:33.403" v="2825" actId="404"/>
          <ac:spMkLst>
            <pc:docMk/>
            <pc:sldMk cId="2997694625" sldId="641"/>
            <ac:spMk id="20" creationId="{2053767D-DD50-D5B3-911B-CFC1EB598A88}"/>
          </ac:spMkLst>
        </pc:spChg>
        <pc:spChg chg="add del mod">
          <ac:chgData name="miraj sinya" userId="9f99502c73333c07" providerId="LiveId" clId="{1B2898EF-2D25-40F5-B0FA-55D6DBAA7B11}" dt="2023-11-13T05:33:03.499" v="3640" actId="478"/>
          <ac:spMkLst>
            <pc:docMk/>
            <pc:sldMk cId="2997694625" sldId="641"/>
            <ac:spMk id="22" creationId="{377DB5AB-26BC-34D2-3043-07DD869576DC}"/>
          </ac:spMkLst>
        </pc:spChg>
        <pc:spChg chg="add del mod">
          <ac:chgData name="miraj sinya" userId="9f99502c73333c07" providerId="LiveId" clId="{1B2898EF-2D25-40F5-B0FA-55D6DBAA7B11}" dt="2023-11-13T05:33:03.499" v="3640" actId="478"/>
          <ac:spMkLst>
            <pc:docMk/>
            <pc:sldMk cId="2997694625" sldId="641"/>
            <ac:spMk id="23" creationId="{D1C81876-DE97-BF2E-C6EF-55FB14559CA7}"/>
          </ac:spMkLst>
        </pc:spChg>
        <pc:spChg chg="add del mod">
          <ac:chgData name="miraj sinya" userId="9f99502c73333c07" providerId="LiveId" clId="{1B2898EF-2D25-40F5-B0FA-55D6DBAA7B11}" dt="2023-11-13T05:33:03.499" v="3640" actId="478"/>
          <ac:spMkLst>
            <pc:docMk/>
            <pc:sldMk cId="2997694625" sldId="641"/>
            <ac:spMk id="25" creationId="{A8C9D002-33FD-BD16-3C81-25CF423E46E6}"/>
          </ac:spMkLst>
        </pc:spChg>
        <pc:spChg chg="add del mod">
          <ac:chgData name="miraj sinya" userId="9f99502c73333c07" providerId="LiveId" clId="{1B2898EF-2D25-40F5-B0FA-55D6DBAA7B11}" dt="2023-11-13T05:33:03.499" v="3640" actId="478"/>
          <ac:spMkLst>
            <pc:docMk/>
            <pc:sldMk cId="2997694625" sldId="641"/>
            <ac:spMk id="26" creationId="{ECDFF8EB-9C29-11B1-8A22-CB535C6EF8BC}"/>
          </ac:spMkLst>
        </pc:spChg>
        <pc:spChg chg="add mod">
          <ac:chgData name="miraj sinya" userId="9f99502c73333c07" providerId="LiveId" clId="{1B2898EF-2D25-40F5-B0FA-55D6DBAA7B11}" dt="2023-11-13T05:23:40.276" v="3298" actId="164"/>
          <ac:spMkLst>
            <pc:docMk/>
            <pc:sldMk cId="2997694625" sldId="641"/>
            <ac:spMk id="27" creationId="{079C5BB0-C600-D55F-B82B-A9A00C8AEEFB}"/>
          </ac:spMkLst>
        </pc:spChg>
        <pc:spChg chg="add mod">
          <ac:chgData name="miraj sinya" userId="9f99502c73333c07" providerId="LiveId" clId="{1B2898EF-2D25-40F5-B0FA-55D6DBAA7B11}" dt="2023-11-13T04:56:06.289" v="2848" actId="164"/>
          <ac:spMkLst>
            <pc:docMk/>
            <pc:sldMk cId="2997694625" sldId="641"/>
            <ac:spMk id="28" creationId="{074FC006-B08A-C260-8F1C-EF5BDDFA5D19}"/>
          </ac:spMkLst>
        </pc:spChg>
        <pc:spChg chg="del">
          <ac:chgData name="miraj sinya" userId="9f99502c73333c07" providerId="LiveId" clId="{1B2898EF-2D25-40F5-B0FA-55D6DBAA7B11}" dt="2023-11-13T03:59:10.816" v="1702" actId="478"/>
          <ac:spMkLst>
            <pc:docMk/>
            <pc:sldMk cId="2997694625" sldId="641"/>
            <ac:spMk id="40" creationId="{EABBFF8A-53D4-3454-4257-3DE9AED84EE2}"/>
          </ac:spMkLst>
        </pc:spChg>
        <pc:spChg chg="del">
          <ac:chgData name="miraj sinya" userId="9f99502c73333c07" providerId="LiveId" clId="{1B2898EF-2D25-40F5-B0FA-55D6DBAA7B11}" dt="2023-11-13T03:59:10.816" v="1702" actId="478"/>
          <ac:spMkLst>
            <pc:docMk/>
            <pc:sldMk cId="2997694625" sldId="641"/>
            <ac:spMk id="41" creationId="{2A8F743F-99E9-6C6F-E803-3453D525ECCE}"/>
          </ac:spMkLst>
        </pc:spChg>
        <pc:spChg chg="del">
          <ac:chgData name="miraj sinya" userId="9f99502c73333c07" providerId="LiveId" clId="{1B2898EF-2D25-40F5-B0FA-55D6DBAA7B11}" dt="2023-11-13T03:59:10.816" v="1702" actId="478"/>
          <ac:spMkLst>
            <pc:docMk/>
            <pc:sldMk cId="2997694625" sldId="641"/>
            <ac:spMk id="42" creationId="{7F934062-A577-2118-6F49-333C162E9E37}"/>
          </ac:spMkLst>
        </pc:spChg>
        <pc:spChg chg="del">
          <ac:chgData name="miraj sinya" userId="9f99502c73333c07" providerId="LiveId" clId="{1B2898EF-2D25-40F5-B0FA-55D6DBAA7B11}" dt="2023-11-13T03:59:10.816" v="1702" actId="478"/>
          <ac:spMkLst>
            <pc:docMk/>
            <pc:sldMk cId="2997694625" sldId="641"/>
            <ac:spMk id="43" creationId="{087AFCF6-88E3-4542-C739-0A82F6C7DA54}"/>
          </ac:spMkLst>
        </pc:spChg>
        <pc:spChg chg="add mod ord">
          <ac:chgData name="miraj sinya" userId="9f99502c73333c07" providerId="LiveId" clId="{1B2898EF-2D25-40F5-B0FA-55D6DBAA7B11}" dt="2023-11-13T05:23:40.276" v="3298" actId="164"/>
          <ac:spMkLst>
            <pc:docMk/>
            <pc:sldMk cId="2997694625" sldId="641"/>
            <ac:spMk id="48" creationId="{3399B56E-A326-7D3A-ACC4-1E3EF0518574}"/>
          </ac:spMkLst>
        </pc:spChg>
        <pc:spChg chg="mod">
          <ac:chgData name="miraj sinya" userId="9f99502c73333c07" providerId="LiveId" clId="{1B2898EF-2D25-40F5-B0FA-55D6DBAA7B11}" dt="2023-11-13T05:23:40.276" v="3298" actId="164"/>
          <ac:spMkLst>
            <pc:docMk/>
            <pc:sldMk cId="2997694625" sldId="641"/>
            <ac:spMk id="52" creationId="{E8CD56CA-739E-FFC8-3391-AF8A828C11BD}"/>
          </ac:spMkLst>
        </pc:spChg>
        <pc:spChg chg="del">
          <ac:chgData name="miraj sinya" userId="9f99502c73333c07" providerId="LiveId" clId="{1B2898EF-2D25-40F5-B0FA-55D6DBAA7B11}" dt="2023-11-13T03:59:10.816" v="1702" actId="478"/>
          <ac:spMkLst>
            <pc:docMk/>
            <pc:sldMk cId="2997694625" sldId="641"/>
            <ac:spMk id="53" creationId="{04827F38-AFCA-AA23-5A08-047769B7F99D}"/>
          </ac:spMkLst>
        </pc:spChg>
        <pc:spChg chg="del">
          <ac:chgData name="miraj sinya" userId="9f99502c73333c07" providerId="LiveId" clId="{1B2898EF-2D25-40F5-B0FA-55D6DBAA7B11}" dt="2023-11-13T03:59:10.816" v="1702" actId="478"/>
          <ac:spMkLst>
            <pc:docMk/>
            <pc:sldMk cId="2997694625" sldId="641"/>
            <ac:spMk id="54" creationId="{F114D30D-22FA-46FD-205D-F2D40DC76784}"/>
          </ac:spMkLst>
        </pc:spChg>
        <pc:spChg chg="del">
          <ac:chgData name="miraj sinya" userId="9f99502c73333c07" providerId="LiveId" clId="{1B2898EF-2D25-40F5-B0FA-55D6DBAA7B11}" dt="2023-11-13T03:59:10.816" v="1702" actId="478"/>
          <ac:spMkLst>
            <pc:docMk/>
            <pc:sldMk cId="2997694625" sldId="641"/>
            <ac:spMk id="55" creationId="{A93A7499-5BD5-1D2D-B671-E18D1ABC765C}"/>
          </ac:spMkLst>
        </pc:spChg>
        <pc:spChg chg="add mod">
          <ac:chgData name="miraj sinya" userId="9f99502c73333c07" providerId="LiveId" clId="{1B2898EF-2D25-40F5-B0FA-55D6DBAA7B11}" dt="2023-11-13T05:13:56.867" v="3089" actId="1076"/>
          <ac:spMkLst>
            <pc:docMk/>
            <pc:sldMk cId="2997694625" sldId="641"/>
            <ac:spMk id="58" creationId="{301D4BE1-AC57-48CD-A990-EC769481884D}"/>
          </ac:spMkLst>
        </pc:spChg>
        <pc:spChg chg="add mod ord">
          <ac:chgData name="miraj sinya" userId="9f99502c73333c07" providerId="LiveId" clId="{1B2898EF-2D25-40F5-B0FA-55D6DBAA7B11}" dt="2023-11-13T05:23:40.276" v="3298" actId="164"/>
          <ac:spMkLst>
            <pc:docMk/>
            <pc:sldMk cId="2997694625" sldId="641"/>
            <ac:spMk id="63" creationId="{BA635195-BCF6-2392-0F0E-694BA74849D6}"/>
          </ac:spMkLst>
        </pc:spChg>
        <pc:spChg chg="mod">
          <ac:chgData name="miraj sinya" userId="9f99502c73333c07" providerId="LiveId" clId="{1B2898EF-2D25-40F5-B0FA-55D6DBAA7B11}" dt="2023-11-13T04:45:12.642" v="2734" actId="164"/>
          <ac:spMkLst>
            <pc:docMk/>
            <pc:sldMk cId="2997694625" sldId="641"/>
            <ac:spMk id="72" creationId="{C5A03A19-CCC4-1619-1E8F-7BFA37864BC2}"/>
          </ac:spMkLst>
        </pc:spChg>
        <pc:spChg chg="mod ord topLvl">
          <ac:chgData name="miraj sinya" userId="9f99502c73333c07" providerId="LiveId" clId="{1B2898EF-2D25-40F5-B0FA-55D6DBAA7B11}" dt="2023-11-13T05:23:40.276" v="3298" actId="164"/>
          <ac:spMkLst>
            <pc:docMk/>
            <pc:sldMk cId="2997694625" sldId="641"/>
            <ac:spMk id="73" creationId="{0B0CFEFC-3C64-163A-6E06-35182CF99097}"/>
          </ac:spMkLst>
        </pc:spChg>
        <pc:spChg chg="mod topLvl">
          <ac:chgData name="miraj sinya" userId="9f99502c73333c07" providerId="LiveId" clId="{1B2898EF-2D25-40F5-B0FA-55D6DBAA7B11}" dt="2023-11-13T05:35:46.646" v="3648" actId="1076"/>
          <ac:spMkLst>
            <pc:docMk/>
            <pc:sldMk cId="2997694625" sldId="641"/>
            <ac:spMk id="75" creationId="{EDE135B7-BE7D-C471-8D4B-C552FBE8878B}"/>
          </ac:spMkLst>
        </pc:spChg>
        <pc:spChg chg="del mod">
          <ac:chgData name="miraj sinya" userId="9f99502c73333c07" providerId="LiveId" clId="{1B2898EF-2D25-40F5-B0FA-55D6DBAA7B11}" dt="2023-11-13T04:57:59.346" v="2862" actId="478"/>
          <ac:spMkLst>
            <pc:docMk/>
            <pc:sldMk cId="2997694625" sldId="641"/>
            <ac:spMk id="76" creationId="{AD95EA41-F21D-88C3-4FEC-A3E90B1A483D}"/>
          </ac:spMkLst>
        </pc:spChg>
        <pc:spChg chg="mod">
          <ac:chgData name="miraj sinya" userId="9f99502c73333c07" providerId="LiveId" clId="{1B2898EF-2D25-40F5-B0FA-55D6DBAA7B11}" dt="2023-11-13T04:45:12.642" v="2734" actId="164"/>
          <ac:spMkLst>
            <pc:docMk/>
            <pc:sldMk cId="2997694625" sldId="641"/>
            <ac:spMk id="77" creationId="{8D17EDA9-1791-E364-7E75-1AB06709E60E}"/>
          </ac:spMkLst>
        </pc:spChg>
        <pc:spChg chg="del mod">
          <ac:chgData name="miraj sinya" userId="9f99502c73333c07" providerId="LiveId" clId="{1B2898EF-2D25-40F5-B0FA-55D6DBAA7B11}" dt="2023-11-13T04:57:56.649" v="2860" actId="478"/>
          <ac:spMkLst>
            <pc:docMk/>
            <pc:sldMk cId="2997694625" sldId="641"/>
            <ac:spMk id="81" creationId="{22276677-B73D-A8E3-7DC8-729041EF94B9}"/>
          </ac:spMkLst>
        </pc:spChg>
        <pc:spChg chg="del mod topLvl">
          <ac:chgData name="miraj sinya" userId="9f99502c73333c07" providerId="LiveId" clId="{1B2898EF-2D25-40F5-B0FA-55D6DBAA7B11}" dt="2023-11-13T05:12:56.776" v="3081" actId="478"/>
          <ac:spMkLst>
            <pc:docMk/>
            <pc:sldMk cId="2997694625" sldId="641"/>
            <ac:spMk id="82" creationId="{A3D82430-26B0-9A33-318E-E220A859D2CA}"/>
          </ac:spMkLst>
        </pc:spChg>
        <pc:spChg chg="del mod topLvl">
          <ac:chgData name="miraj sinya" userId="9f99502c73333c07" providerId="LiveId" clId="{1B2898EF-2D25-40F5-B0FA-55D6DBAA7B11}" dt="2023-11-13T05:12:56.776" v="3081" actId="478"/>
          <ac:spMkLst>
            <pc:docMk/>
            <pc:sldMk cId="2997694625" sldId="641"/>
            <ac:spMk id="83" creationId="{E69D2F4D-E174-6CE4-C159-2CC695BC965D}"/>
          </ac:spMkLst>
        </pc:spChg>
        <pc:spChg chg="add mod">
          <ac:chgData name="miraj sinya" userId="9f99502c73333c07" providerId="LiveId" clId="{1B2898EF-2D25-40F5-B0FA-55D6DBAA7B11}" dt="2023-11-13T05:23:40.276" v="3298" actId="164"/>
          <ac:spMkLst>
            <pc:docMk/>
            <pc:sldMk cId="2997694625" sldId="641"/>
            <ac:spMk id="84" creationId="{3542FE65-F3DA-1FE9-7233-BBAC63A17A5C}"/>
          </ac:spMkLst>
        </pc:spChg>
        <pc:spChg chg="add mod">
          <ac:chgData name="miraj sinya" userId="9f99502c73333c07" providerId="LiveId" clId="{1B2898EF-2D25-40F5-B0FA-55D6DBAA7B11}" dt="2023-11-13T05:23:40.276" v="3298" actId="164"/>
          <ac:spMkLst>
            <pc:docMk/>
            <pc:sldMk cId="2997694625" sldId="641"/>
            <ac:spMk id="85" creationId="{289500D4-D836-53A0-2B18-EED9F010C19E}"/>
          </ac:spMkLst>
        </pc:spChg>
        <pc:spChg chg="add mod">
          <ac:chgData name="miraj sinya" userId="9f99502c73333c07" providerId="LiveId" clId="{1B2898EF-2D25-40F5-B0FA-55D6DBAA7B11}" dt="2023-11-13T05:23:40.276" v="3298" actId="164"/>
          <ac:spMkLst>
            <pc:docMk/>
            <pc:sldMk cId="2997694625" sldId="641"/>
            <ac:spMk id="86" creationId="{FDD85F94-83A5-2DBD-C3FF-C76E6791A6EB}"/>
          </ac:spMkLst>
        </pc:spChg>
        <pc:spChg chg="add mod">
          <ac:chgData name="miraj sinya" userId="9f99502c73333c07" providerId="LiveId" clId="{1B2898EF-2D25-40F5-B0FA-55D6DBAA7B11}" dt="2023-11-13T05:23:40.276" v="3298" actId="164"/>
          <ac:spMkLst>
            <pc:docMk/>
            <pc:sldMk cId="2997694625" sldId="641"/>
            <ac:spMk id="87" creationId="{A0D88AEA-EFAC-7709-C468-EA5A72F64D61}"/>
          </ac:spMkLst>
        </pc:spChg>
        <pc:spChg chg="add mod ord">
          <ac:chgData name="miraj sinya" userId="9f99502c73333c07" providerId="LiveId" clId="{1B2898EF-2D25-40F5-B0FA-55D6DBAA7B11}" dt="2023-11-13T05:10:59.558" v="3054" actId="164"/>
          <ac:spMkLst>
            <pc:docMk/>
            <pc:sldMk cId="2997694625" sldId="641"/>
            <ac:spMk id="88" creationId="{AB578EDD-816F-35BB-FE77-B370CEF9990D}"/>
          </ac:spMkLst>
        </pc:spChg>
        <pc:spChg chg="mod">
          <ac:chgData name="miraj sinya" userId="9f99502c73333c07" providerId="LiveId" clId="{1B2898EF-2D25-40F5-B0FA-55D6DBAA7B11}" dt="2023-11-13T05:12:03.120" v="3065"/>
          <ac:spMkLst>
            <pc:docMk/>
            <pc:sldMk cId="2997694625" sldId="641"/>
            <ac:spMk id="91" creationId="{BBB1BA90-A7E0-EE38-B7B5-489B70C5AC35}"/>
          </ac:spMkLst>
        </pc:spChg>
        <pc:spChg chg="mod">
          <ac:chgData name="miraj sinya" userId="9f99502c73333c07" providerId="LiveId" clId="{1B2898EF-2D25-40F5-B0FA-55D6DBAA7B11}" dt="2023-11-13T05:12:52.239" v="3080" actId="20577"/>
          <ac:spMkLst>
            <pc:docMk/>
            <pc:sldMk cId="2997694625" sldId="641"/>
            <ac:spMk id="94" creationId="{E9354C47-6FC0-73AD-FE2F-068495A7017B}"/>
          </ac:spMkLst>
        </pc:spChg>
        <pc:spChg chg="mod">
          <ac:chgData name="miraj sinya" userId="9f99502c73333c07" providerId="LiveId" clId="{1B2898EF-2D25-40F5-B0FA-55D6DBAA7B11}" dt="2023-11-13T05:12:03.120" v="3065"/>
          <ac:spMkLst>
            <pc:docMk/>
            <pc:sldMk cId="2997694625" sldId="641"/>
            <ac:spMk id="97" creationId="{ADD2F03A-248E-4589-650F-6877D8519786}"/>
          </ac:spMkLst>
        </pc:spChg>
        <pc:spChg chg="mod">
          <ac:chgData name="miraj sinya" userId="9f99502c73333c07" providerId="LiveId" clId="{1B2898EF-2D25-40F5-B0FA-55D6DBAA7B11}" dt="2023-11-13T05:33:04.257" v="3641"/>
          <ac:spMkLst>
            <pc:docMk/>
            <pc:sldMk cId="2997694625" sldId="641"/>
            <ac:spMk id="100" creationId="{75A11948-DF9E-5E7A-4C4A-82473A6F942F}"/>
          </ac:spMkLst>
        </pc:spChg>
        <pc:spChg chg="add mod">
          <ac:chgData name="miraj sinya" userId="9f99502c73333c07" providerId="LiveId" clId="{1B2898EF-2D25-40F5-B0FA-55D6DBAA7B11}" dt="2023-11-13T05:33:04.257" v="3641"/>
          <ac:spMkLst>
            <pc:docMk/>
            <pc:sldMk cId="2997694625" sldId="641"/>
            <ac:spMk id="102" creationId="{74EAB6AF-BE04-0ACA-93E5-1EF650900B86}"/>
          </ac:spMkLst>
        </pc:spChg>
        <pc:spChg chg="add mod">
          <ac:chgData name="miraj sinya" userId="9f99502c73333c07" providerId="LiveId" clId="{1B2898EF-2D25-40F5-B0FA-55D6DBAA7B11}" dt="2023-11-14T00:01:56.717" v="5496" actId="20577"/>
          <ac:spMkLst>
            <pc:docMk/>
            <pc:sldMk cId="2997694625" sldId="641"/>
            <ac:spMk id="103" creationId="{31E6B5D2-5279-5E1A-7C26-E0A4AB64235F}"/>
          </ac:spMkLst>
        </pc:spChg>
        <pc:spChg chg="add mod">
          <ac:chgData name="miraj sinya" userId="9f99502c73333c07" providerId="LiveId" clId="{1B2898EF-2D25-40F5-B0FA-55D6DBAA7B11}" dt="2023-11-13T05:33:04.257" v="3641"/>
          <ac:spMkLst>
            <pc:docMk/>
            <pc:sldMk cId="2997694625" sldId="641"/>
            <ac:spMk id="105" creationId="{4620399C-DC63-8DE8-4176-0764EC45F60A}"/>
          </ac:spMkLst>
        </pc:spChg>
        <pc:spChg chg="add mod">
          <ac:chgData name="miraj sinya" userId="9f99502c73333c07" providerId="LiveId" clId="{1B2898EF-2D25-40F5-B0FA-55D6DBAA7B11}" dt="2023-11-13T05:33:48.341" v="3645" actId="400"/>
          <ac:spMkLst>
            <pc:docMk/>
            <pc:sldMk cId="2997694625" sldId="641"/>
            <ac:spMk id="106" creationId="{6C766CFB-2D58-FD45-EB63-ED990068374E}"/>
          </ac:spMkLst>
        </pc:spChg>
        <pc:spChg chg="mod">
          <ac:chgData name="miraj sinya" userId="9f99502c73333c07" providerId="LiveId" clId="{1B2898EF-2D25-40F5-B0FA-55D6DBAA7B11}" dt="2023-11-13T05:33:25.816" v="3643"/>
          <ac:spMkLst>
            <pc:docMk/>
            <pc:sldMk cId="2997694625" sldId="641"/>
            <ac:spMk id="108" creationId="{D98E4217-6882-C917-44E2-82DDDD4B87F4}"/>
          </ac:spMkLst>
        </pc:spChg>
        <pc:grpChg chg="add del mod">
          <ac:chgData name="miraj sinya" userId="9f99502c73333c07" providerId="LiveId" clId="{1B2898EF-2D25-40F5-B0FA-55D6DBAA7B11}" dt="2023-11-13T04:43:14.570" v="2678" actId="478"/>
          <ac:grpSpMkLst>
            <pc:docMk/>
            <pc:sldMk cId="2997694625" sldId="641"/>
            <ac:grpSpMk id="5" creationId="{AF8A9FAE-B9D9-E0A5-46BE-E866F8325D10}"/>
          </ac:grpSpMkLst>
        </pc:grpChg>
        <pc:grpChg chg="add del mod">
          <ac:chgData name="miraj sinya" userId="9f99502c73333c07" providerId="LiveId" clId="{1B2898EF-2D25-40F5-B0FA-55D6DBAA7B11}" dt="2023-11-13T04:43:27.978" v="2683" actId="478"/>
          <ac:grpSpMkLst>
            <pc:docMk/>
            <pc:sldMk cId="2997694625" sldId="641"/>
            <ac:grpSpMk id="6" creationId="{333E517D-4DEE-4757-5F5C-8A32605ED288}"/>
          </ac:grpSpMkLst>
        </pc:grpChg>
        <pc:grpChg chg="add del mod">
          <ac:chgData name="miraj sinya" userId="9f99502c73333c07" providerId="LiveId" clId="{1B2898EF-2D25-40F5-B0FA-55D6DBAA7B11}" dt="2023-11-13T04:52:53.386" v="2808" actId="165"/>
          <ac:grpSpMkLst>
            <pc:docMk/>
            <pc:sldMk cId="2997694625" sldId="641"/>
            <ac:grpSpMk id="10" creationId="{707E981A-15BF-77AB-A7F3-D2D5AF7006A3}"/>
          </ac:grpSpMkLst>
        </pc:grpChg>
        <pc:grpChg chg="del mod topLvl">
          <ac:chgData name="miraj sinya" userId="9f99502c73333c07" providerId="LiveId" clId="{1B2898EF-2D25-40F5-B0FA-55D6DBAA7B11}" dt="2023-11-13T04:52:54.152" v="2809" actId="165"/>
          <ac:grpSpMkLst>
            <pc:docMk/>
            <pc:sldMk cId="2997694625" sldId="641"/>
            <ac:grpSpMk id="11" creationId="{6CEE3B7F-D86A-7235-87FE-0230AA78F63A}"/>
          </ac:grpSpMkLst>
        </pc:grpChg>
        <pc:grpChg chg="add del mod">
          <ac:chgData name="miraj sinya" userId="9f99502c73333c07" providerId="LiveId" clId="{1B2898EF-2D25-40F5-B0FA-55D6DBAA7B11}" dt="2023-11-13T05:00:53.025" v="2885" actId="165"/>
          <ac:grpSpMkLst>
            <pc:docMk/>
            <pc:sldMk cId="2997694625" sldId="641"/>
            <ac:grpSpMk id="15" creationId="{69A0C5DB-F938-5963-6D4A-69B35755BCBD}"/>
          </ac:grpSpMkLst>
        </pc:grpChg>
        <pc:grpChg chg="add mod">
          <ac:chgData name="miraj sinya" userId="9f99502c73333c07" providerId="LiveId" clId="{1B2898EF-2D25-40F5-B0FA-55D6DBAA7B11}" dt="2023-11-13T05:23:40.276" v="3298" actId="164"/>
          <ac:grpSpMkLst>
            <pc:docMk/>
            <pc:sldMk cId="2997694625" sldId="641"/>
            <ac:grpSpMk id="16" creationId="{7A85338A-BC6A-8865-3ACB-A00D60BA4342}"/>
          </ac:grpSpMkLst>
        </pc:grpChg>
        <pc:grpChg chg="add mod">
          <ac:chgData name="miraj sinya" userId="9f99502c73333c07" providerId="LiveId" clId="{1B2898EF-2D25-40F5-B0FA-55D6DBAA7B11}" dt="2023-11-13T05:23:40.276" v="3298" actId="164"/>
          <ac:grpSpMkLst>
            <pc:docMk/>
            <pc:sldMk cId="2997694625" sldId="641"/>
            <ac:grpSpMk id="21" creationId="{9549AFF8-EC6F-3339-9655-AD89A946630B}"/>
          </ac:grpSpMkLst>
        </pc:grpChg>
        <pc:grpChg chg="del">
          <ac:chgData name="miraj sinya" userId="9f99502c73333c07" providerId="LiveId" clId="{1B2898EF-2D25-40F5-B0FA-55D6DBAA7B11}" dt="2023-11-13T03:59:10.816" v="1702" actId="478"/>
          <ac:grpSpMkLst>
            <pc:docMk/>
            <pc:sldMk cId="2997694625" sldId="641"/>
            <ac:grpSpMk id="29" creationId="{BFBEDF10-C7B6-3FC0-1958-47A32EB19787}"/>
          </ac:grpSpMkLst>
        </pc:grpChg>
        <pc:grpChg chg="del">
          <ac:chgData name="miraj sinya" userId="9f99502c73333c07" providerId="LiveId" clId="{1B2898EF-2D25-40F5-B0FA-55D6DBAA7B11}" dt="2023-11-13T03:59:10.816" v="1702" actId="478"/>
          <ac:grpSpMkLst>
            <pc:docMk/>
            <pc:sldMk cId="2997694625" sldId="641"/>
            <ac:grpSpMk id="44" creationId="{AF25E9F1-1D19-50DC-9EDF-DA0BF1F9A59C}"/>
          </ac:grpSpMkLst>
        </pc:grpChg>
        <pc:grpChg chg="add del mod">
          <ac:chgData name="miraj sinya" userId="9f99502c73333c07" providerId="LiveId" clId="{1B2898EF-2D25-40F5-B0FA-55D6DBAA7B11}" dt="2023-11-13T05:10:38.509" v="3049" actId="165"/>
          <ac:grpSpMkLst>
            <pc:docMk/>
            <pc:sldMk cId="2997694625" sldId="641"/>
            <ac:grpSpMk id="47" creationId="{F0A659BC-47B2-1F04-75D5-A26E18442D1E}"/>
          </ac:grpSpMkLst>
        </pc:grpChg>
        <pc:grpChg chg="del mod">
          <ac:chgData name="miraj sinya" userId="9f99502c73333c07" providerId="LiveId" clId="{1B2898EF-2D25-40F5-B0FA-55D6DBAA7B11}" dt="2023-11-13T05:07:12.243" v="2955" actId="165"/>
          <ac:grpSpMkLst>
            <pc:docMk/>
            <pc:sldMk cId="2997694625" sldId="641"/>
            <ac:grpSpMk id="49" creationId="{70BEA887-F75E-761E-593A-C001E76A4D64}"/>
          </ac:grpSpMkLst>
        </pc:grpChg>
        <pc:grpChg chg="add mod">
          <ac:chgData name="miraj sinya" userId="9f99502c73333c07" providerId="LiveId" clId="{1B2898EF-2D25-40F5-B0FA-55D6DBAA7B11}" dt="2023-11-13T05:23:40.276" v="3298" actId="164"/>
          <ac:grpSpMkLst>
            <pc:docMk/>
            <pc:sldMk cId="2997694625" sldId="641"/>
            <ac:grpSpMk id="59" creationId="{7F1FFF29-9510-B4A6-AAE0-FF1F1FACC38A}"/>
          </ac:grpSpMkLst>
        </pc:grpChg>
        <pc:grpChg chg="del">
          <ac:chgData name="miraj sinya" userId="9f99502c73333c07" providerId="LiveId" clId="{1B2898EF-2D25-40F5-B0FA-55D6DBAA7B11}" dt="2023-11-13T05:33:22.090" v="3642" actId="478"/>
          <ac:grpSpMkLst>
            <pc:docMk/>
            <pc:sldMk cId="2997694625" sldId="641"/>
            <ac:grpSpMk id="64" creationId="{94A6FC51-2A6A-C64C-F560-E7EF57104345}"/>
          </ac:grpSpMkLst>
        </pc:grpChg>
        <pc:grpChg chg="del mod">
          <ac:chgData name="miraj sinya" userId="9f99502c73333c07" providerId="LiveId" clId="{1B2898EF-2D25-40F5-B0FA-55D6DBAA7B11}" dt="2023-11-13T05:33:03.499" v="3640" actId="478"/>
          <ac:grpSpMkLst>
            <pc:docMk/>
            <pc:sldMk cId="2997694625" sldId="641"/>
            <ac:grpSpMk id="67" creationId="{4E32D611-33D6-3F43-CD96-33E3B70382CE}"/>
          </ac:grpSpMkLst>
        </pc:grpChg>
        <pc:grpChg chg="add mod">
          <ac:chgData name="miraj sinya" userId="9f99502c73333c07" providerId="LiveId" clId="{1B2898EF-2D25-40F5-B0FA-55D6DBAA7B11}" dt="2023-11-13T05:23:40.276" v="3298" actId="164"/>
          <ac:grpSpMkLst>
            <pc:docMk/>
            <pc:sldMk cId="2997694625" sldId="641"/>
            <ac:grpSpMk id="89" creationId="{4C71C17B-61F4-D4A2-E6B3-999A8580F5A7}"/>
          </ac:grpSpMkLst>
        </pc:grpChg>
        <pc:grpChg chg="add mod">
          <ac:chgData name="miraj sinya" userId="9f99502c73333c07" providerId="LiveId" clId="{1B2898EF-2D25-40F5-B0FA-55D6DBAA7B11}" dt="2023-11-13T05:23:40.276" v="3298" actId="164"/>
          <ac:grpSpMkLst>
            <pc:docMk/>
            <pc:sldMk cId="2997694625" sldId="641"/>
            <ac:grpSpMk id="90" creationId="{BD486A96-D003-5D54-FCF3-3E0CCB22CB3B}"/>
          </ac:grpSpMkLst>
        </pc:grpChg>
        <pc:grpChg chg="mod">
          <ac:chgData name="miraj sinya" userId="9f99502c73333c07" providerId="LiveId" clId="{1B2898EF-2D25-40F5-B0FA-55D6DBAA7B11}" dt="2023-11-13T05:12:03.120" v="3065"/>
          <ac:grpSpMkLst>
            <pc:docMk/>
            <pc:sldMk cId="2997694625" sldId="641"/>
            <ac:grpSpMk id="92" creationId="{95DEC2E5-D931-7774-8E61-A893FB413B95}"/>
          </ac:grpSpMkLst>
        </pc:grpChg>
        <pc:grpChg chg="mod">
          <ac:chgData name="miraj sinya" userId="9f99502c73333c07" providerId="LiveId" clId="{1B2898EF-2D25-40F5-B0FA-55D6DBAA7B11}" dt="2023-11-13T05:12:03.120" v="3065"/>
          <ac:grpSpMkLst>
            <pc:docMk/>
            <pc:sldMk cId="2997694625" sldId="641"/>
            <ac:grpSpMk id="93" creationId="{A0CFD9F6-E358-BA79-E303-29141873A996}"/>
          </ac:grpSpMkLst>
        </pc:grpChg>
        <pc:grpChg chg="add mod">
          <ac:chgData name="miraj sinya" userId="9f99502c73333c07" providerId="LiveId" clId="{1B2898EF-2D25-40F5-B0FA-55D6DBAA7B11}" dt="2023-11-13T05:23:40.276" v="3298" actId="164"/>
          <ac:grpSpMkLst>
            <pc:docMk/>
            <pc:sldMk cId="2997694625" sldId="641"/>
            <ac:grpSpMk id="98" creationId="{CC7583B3-2586-E76A-6CA8-5EE00955C31F}"/>
          </ac:grpSpMkLst>
        </pc:grpChg>
        <pc:grpChg chg="add mod">
          <ac:chgData name="miraj sinya" userId="9f99502c73333c07" providerId="LiveId" clId="{1B2898EF-2D25-40F5-B0FA-55D6DBAA7B11}" dt="2023-11-13T05:33:04.257" v="3641"/>
          <ac:grpSpMkLst>
            <pc:docMk/>
            <pc:sldMk cId="2997694625" sldId="641"/>
            <ac:grpSpMk id="99" creationId="{E9967969-1481-D538-75F0-CF81427076B8}"/>
          </ac:grpSpMkLst>
        </pc:grpChg>
        <pc:grpChg chg="add mod">
          <ac:chgData name="miraj sinya" userId="9f99502c73333c07" providerId="LiveId" clId="{1B2898EF-2D25-40F5-B0FA-55D6DBAA7B11}" dt="2023-11-13T05:33:25.816" v="3643"/>
          <ac:grpSpMkLst>
            <pc:docMk/>
            <pc:sldMk cId="2997694625" sldId="641"/>
            <ac:grpSpMk id="107" creationId="{C98C65A8-E9E5-2EF4-704C-C6543E3E511D}"/>
          </ac:grpSpMkLst>
        </pc:grpChg>
        <pc:picChg chg="del">
          <ac:chgData name="miraj sinya" userId="9f99502c73333c07" providerId="LiveId" clId="{1B2898EF-2D25-40F5-B0FA-55D6DBAA7B11}" dt="2023-11-13T03:59:10.816" v="1702" actId="478"/>
          <ac:picMkLst>
            <pc:docMk/>
            <pc:sldMk cId="2997694625" sldId="641"/>
            <ac:picMk id="33" creationId="{AA39EC2C-3B88-BA45-961A-272A6EAD7753}"/>
          </ac:picMkLst>
        </pc:picChg>
        <pc:picChg chg="del">
          <ac:chgData name="miraj sinya" userId="9f99502c73333c07" providerId="LiveId" clId="{1B2898EF-2D25-40F5-B0FA-55D6DBAA7B11}" dt="2023-11-13T03:59:10.816" v="1702" actId="478"/>
          <ac:picMkLst>
            <pc:docMk/>
            <pc:sldMk cId="2997694625" sldId="641"/>
            <ac:picMk id="39" creationId="{939257AD-05F7-F28B-1869-205BF3ECFA15}"/>
          </ac:picMkLst>
        </pc:picChg>
        <pc:cxnChg chg="del mod">
          <ac:chgData name="miraj sinya" userId="9f99502c73333c07" providerId="LiveId" clId="{1B2898EF-2D25-40F5-B0FA-55D6DBAA7B11}" dt="2023-11-13T05:12:56.776" v="3081" actId="478"/>
          <ac:cxnSpMkLst>
            <pc:docMk/>
            <pc:sldMk cId="2997694625" sldId="641"/>
            <ac:cxnSpMk id="9" creationId="{0BCFCE62-4CD6-B52E-1F5F-1BCD157AAE9D}"/>
          </ac:cxnSpMkLst>
        </pc:cxnChg>
        <pc:cxnChg chg="add del mod">
          <ac:chgData name="miraj sinya" userId="9f99502c73333c07" providerId="LiveId" clId="{1B2898EF-2D25-40F5-B0FA-55D6DBAA7B11}" dt="2023-11-13T05:33:03.499" v="3640" actId="478"/>
          <ac:cxnSpMkLst>
            <pc:docMk/>
            <pc:sldMk cId="2997694625" sldId="641"/>
            <ac:cxnSpMk id="24" creationId="{BD8B0D50-0170-D78B-1A1A-E7873E5C839F}"/>
          </ac:cxnSpMkLst>
        </pc:cxnChg>
        <pc:cxnChg chg="add mod">
          <ac:chgData name="miraj sinya" userId="9f99502c73333c07" providerId="LiveId" clId="{1B2898EF-2D25-40F5-B0FA-55D6DBAA7B11}" dt="2023-11-13T05:23:40.276" v="3298" actId="164"/>
          <ac:cxnSpMkLst>
            <pc:docMk/>
            <pc:sldMk cId="2997694625" sldId="641"/>
            <ac:cxnSpMk id="30" creationId="{D2F292FA-DBB0-7D71-CD12-522D228FCF5F}"/>
          </ac:cxnSpMkLst>
        </pc:cxnChg>
        <pc:cxnChg chg="add mod">
          <ac:chgData name="miraj sinya" userId="9f99502c73333c07" providerId="LiveId" clId="{1B2898EF-2D25-40F5-B0FA-55D6DBAA7B11}" dt="2023-11-13T05:23:40.276" v="3298" actId="164"/>
          <ac:cxnSpMkLst>
            <pc:docMk/>
            <pc:sldMk cId="2997694625" sldId="641"/>
            <ac:cxnSpMk id="32" creationId="{4A1A2FEA-3767-E982-CBC7-B79186FE185C}"/>
          </ac:cxnSpMkLst>
        </pc:cxnChg>
        <pc:cxnChg chg="del mod">
          <ac:chgData name="miraj sinya" userId="9f99502c73333c07" providerId="LiveId" clId="{1B2898EF-2D25-40F5-B0FA-55D6DBAA7B11}" dt="2023-11-13T03:59:10.816" v="1702" actId="478"/>
          <ac:cxnSpMkLst>
            <pc:docMk/>
            <pc:sldMk cId="2997694625" sldId="641"/>
            <ac:cxnSpMk id="34" creationId="{086A4AA3-B307-6232-F5C3-B4CE6AAC500B}"/>
          </ac:cxnSpMkLst>
        </pc:cxnChg>
        <pc:cxnChg chg="add mod">
          <ac:chgData name="miraj sinya" userId="9f99502c73333c07" providerId="LiveId" clId="{1B2898EF-2D25-40F5-B0FA-55D6DBAA7B11}" dt="2023-11-13T05:23:40.276" v="3298" actId="164"/>
          <ac:cxnSpMkLst>
            <pc:docMk/>
            <pc:sldMk cId="2997694625" sldId="641"/>
            <ac:cxnSpMk id="35" creationId="{2CD81BEB-94FE-3DD6-8D92-A857459F936C}"/>
          </ac:cxnSpMkLst>
        </pc:cxnChg>
        <pc:cxnChg chg="add mod">
          <ac:chgData name="miraj sinya" userId="9f99502c73333c07" providerId="LiveId" clId="{1B2898EF-2D25-40F5-B0FA-55D6DBAA7B11}" dt="2023-11-13T05:23:40.276" v="3298" actId="164"/>
          <ac:cxnSpMkLst>
            <pc:docMk/>
            <pc:sldMk cId="2997694625" sldId="641"/>
            <ac:cxnSpMk id="37" creationId="{C4300AE6-141B-795F-01F7-3C717197825C}"/>
          </ac:cxnSpMkLst>
        </pc:cxnChg>
        <pc:cxnChg chg="add mod">
          <ac:chgData name="miraj sinya" userId="9f99502c73333c07" providerId="LiveId" clId="{1B2898EF-2D25-40F5-B0FA-55D6DBAA7B11}" dt="2023-11-13T05:23:40.276" v="3298" actId="164"/>
          <ac:cxnSpMkLst>
            <pc:docMk/>
            <pc:sldMk cId="2997694625" sldId="641"/>
            <ac:cxnSpMk id="60" creationId="{BEAD008C-1622-290C-8367-0605B7119C04}"/>
          </ac:cxnSpMkLst>
        </pc:cxnChg>
        <pc:cxnChg chg="del mod">
          <ac:chgData name="miraj sinya" userId="9f99502c73333c07" providerId="LiveId" clId="{1B2898EF-2D25-40F5-B0FA-55D6DBAA7B11}" dt="2023-11-13T05:13:00.712" v="3082" actId="478"/>
          <ac:cxnSpMkLst>
            <pc:docMk/>
            <pc:sldMk cId="2997694625" sldId="641"/>
            <ac:cxnSpMk id="78" creationId="{74BCFD67-E481-C943-7C25-A183D33C1D2A}"/>
          </ac:cxnSpMkLst>
        </pc:cxnChg>
        <pc:cxnChg chg="del mod">
          <ac:chgData name="miraj sinya" userId="9f99502c73333c07" providerId="LiveId" clId="{1B2898EF-2D25-40F5-B0FA-55D6DBAA7B11}" dt="2023-11-13T05:12:56.776" v="3081" actId="478"/>
          <ac:cxnSpMkLst>
            <pc:docMk/>
            <pc:sldMk cId="2997694625" sldId="641"/>
            <ac:cxnSpMk id="79" creationId="{07CA3999-76A8-293F-4A35-705987BB9150}"/>
          </ac:cxnSpMkLst>
        </pc:cxnChg>
        <pc:cxnChg chg="del mod">
          <ac:chgData name="miraj sinya" userId="9f99502c73333c07" providerId="LiveId" clId="{1B2898EF-2D25-40F5-B0FA-55D6DBAA7B11}" dt="2023-11-13T05:13:00.712" v="3082" actId="478"/>
          <ac:cxnSpMkLst>
            <pc:docMk/>
            <pc:sldMk cId="2997694625" sldId="641"/>
            <ac:cxnSpMk id="80" creationId="{09E932A3-48A7-9C34-3547-8C7DB7CFBFAE}"/>
          </ac:cxnSpMkLst>
        </pc:cxnChg>
        <pc:cxnChg chg="mod">
          <ac:chgData name="miraj sinya" userId="9f99502c73333c07" providerId="LiveId" clId="{1B2898EF-2D25-40F5-B0FA-55D6DBAA7B11}" dt="2023-11-13T05:12:03.120" v="3065"/>
          <ac:cxnSpMkLst>
            <pc:docMk/>
            <pc:sldMk cId="2997694625" sldId="641"/>
            <ac:cxnSpMk id="95" creationId="{60EBD623-275F-1F67-CA09-068362CD367B}"/>
          </ac:cxnSpMkLst>
        </pc:cxnChg>
        <pc:cxnChg chg="mod">
          <ac:chgData name="miraj sinya" userId="9f99502c73333c07" providerId="LiveId" clId="{1B2898EF-2D25-40F5-B0FA-55D6DBAA7B11}" dt="2023-11-13T05:12:03.120" v="3065"/>
          <ac:cxnSpMkLst>
            <pc:docMk/>
            <pc:sldMk cId="2997694625" sldId="641"/>
            <ac:cxnSpMk id="96" creationId="{A03BFEC8-8410-5FA8-FB0E-5B595A5CB686}"/>
          </ac:cxnSpMkLst>
        </pc:cxnChg>
        <pc:cxnChg chg="mod">
          <ac:chgData name="miraj sinya" userId="9f99502c73333c07" providerId="LiveId" clId="{1B2898EF-2D25-40F5-B0FA-55D6DBAA7B11}" dt="2023-11-13T05:33:04.257" v="3641"/>
          <ac:cxnSpMkLst>
            <pc:docMk/>
            <pc:sldMk cId="2997694625" sldId="641"/>
            <ac:cxnSpMk id="101" creationId="{881CDB23-163C-FDFC-5534-97669D9029AA}"/>
          </ac:cxnSpMkLst>
        </pc:cxnChg>
        <pc:cxnChg chg="add mod">
          <ac:chgData name="miraj sinya" userId="9f99502c73333c07" providerId="LiveId" clId="{1B2898EF-2D25-40F5-B0FA-55D6DBAA7B11}" dt="2023-11-13T05:33:04.257" v="3641"/>
          <ac:cxnSpMkLst>
            <pc:docMk/>
            <pc:sldMk cId="2997694625" sldId="641"/>
            <ac:cxnSpMk id="104" creationId="{478FBB3D-B488-FF67-3954-DEAA9159E144}"/>
          </ac:cxnSpMkLst>
        </pc:cxnChg>
        <pc:cxnChg chg="mod">
          <ac:chgData name="miraj sinya" userId="9f99502c73333c07" providerId="LiveId" clId="{1B2898EF-2D25-40F5-B0FA-55D6DBAA7B11}" dt="2023-11-13T05:33:25.816" v="3643"/>
          <ac:cxnSpMkLst>
            <pc:docMk/>
            <pc:sldMk cId="2997694625" sldId="641"/>
            <ac:cxnSpMk id="109" creationId="{6CD97BCE-8A68-31B0-4115-6A33DA4C4D79}"/>
          </ac:cxnSpMkLst>
        </pc:cxnChg>
      </pc:sldChg>
      <pc:sldChg chg="addSp delSp modSp add mod">
        <pc:chgData name="miraj sinya" userId="9f99502c73333c07" providerId="LiveId" clId="{1B2898EF-2D25-40F5-B0FA-55D6DBAA7B11}" dt="2023-11-14T00:40:19.997" v="5520" actId="1076"/>
        <pc:sldMkLst>
          <pc:docMk/>
          <pc:sldMk cId="2290778968" sldId="642"/>
        </pc:sldMkLst>
        <pc:spChg chg="mod">
          <ac:chgData name="miraj sinya" userId="9f99502c73333c07" providerId="LiveId" clId="{1B2898EF-2D25-40F5-B0FA-55D6DBAA7B11}" dt="2023-11-13T00:47:53.749" v="945" actId="20577"/>
          <ac:spMkLst>
            <pc:docMk/>
            <pc:sldMk cId="2290778968" sldId="642"/>
            <ac:spMk id="2" creationId="{2BD9482C-9809-78C2-DBBB-630F5596988E}"/>
          </ac:spMkLst>
        </pc:spChg>
        <pc:spChg chg="del">
          <ac:chgData name="miraj sinya" userId="9f99502c73333c07" providerId="LiveId" clId="{1B2898EF-2D25-40F5-B0FA-55D6DBAA7B11}" dt="2023-11-13T00:47:30.844" v="920" actId="478"/>
          <ac:spMkLst>
            <pc:docMk/>
            <pc:sldMk cId="2290778968" sldId="642"/>
            <ac:spMk id="18" creationId="{4CDD7EDA-8C8C-AD0F-5282-86227D3C00F5}"/>
          </ac:spMkLst>
        </pc:spChg>
        <pc:spChg chg="del">
          <ac:chgData name="miraj sinya" userId="9f99502c73333c07" providerId="LiveId" clId="{1B2898EF-2D25-40F5-B0FA-55D6DBAA7B11}" dt="2023-11-13T00:47:30.844" v="920" actId="478"/>
          <ac:spMkLst>
            <pc:docMk/>
            <pc:sldMk cId="2290778968" sldId="642"/>
            <ac:spMk id="19" creationId="{FB22A53D-A04E-4953-5B43-167D0D623473}"/>
          </ac:spMkLst>
        </pc:spChg>
        <pc:spChg chg="del">
          <ac:chgData name="miraj sinya" userId="9f99502c73333c07" providerId="LiveId" clId="{1B2898EF-2D25-40F5-B0FA-55D6DBAA7B11}" dt="2023-11-13T00:47:30.844" v="920" actId="478"/>
          <ac:spMkLst>
            <pc:docMk/>
            <pc:sldMk cId="2290778968" sldId="642"/>
            <ac:spMk id="21" creationId="{C0803D98-1DF9-CC24-344C-E496171D5A11}"/>
          </ac:spMkLst>
        </pc:spChg>
        <pc:spChg chg="del">
          <ac:chgData name="miraj sinya" userId="9f99502c73333c07" providerId="LiveId" clId="{1B2898EF-2D25-40F5-B0FA-55D6DBAA7B11}" dt="2023-11-13T00:47:30.844" v="920" actId="478"/>
          <ac:spMkLst>
            <pc:docMk/>
            <pc:sldMk cId="2290778968" sldId="642"/>
            <ac:spMk id="22" creationId="{F9FC01F3-5DBE-BF2F-3B9D-612BD37BD42A}"/>
          </ac:spMkLst>
        </pc:spChg>
        <pc:spChg chg="del">
          <ac:chgData name="miraj sinya" userId="9f99502c73333c07" providerId="LiveId" clId="{1B2898EF-2D25-40F5-B0FA-55D6DBAA7B11}" dt="2023-11-13T00:47:30.844" v="920" actId="478"/>
          <ac:spMkLst>
            <pc:docMk/>
            <pc:sldMk cId="2290778968" sldId="642"/>
            <ac:spMk id="23" creationId="{2255016D-FA10-A3B5-4756-9C19107C4536}"/>
          </ac:spMkLst>
        </pc:spChg>
        <pc:spChg chg="del">
          <ac:chgData name="miraj sinya" userId="9f99502c73333c07" providerId="LiveId" clId="{1B2898EF-2D25-40F5-B0FA-55D6DBAA7B11}" dt="2023-11-13T00:47:30.844" v="920" actId="478"/>
          <ac:spMkLst>
            <pc:docMk/>
            <pc:sldMk cId="2290778968" sldId="642"/>
            <ac:spMk id="24" creationId="{06BF219B-8D1E-9BAC-8D5B-8257AADA63B7}"/>
          </ac:spMkLst>
        </pc:spChg>
        <pc:spChg chg="del">
          <ac:chgData name="miraj sinya" userId="9f99502c73333c07" providerId="LiveId" clId="{1B2898EF-2D25-40F5-B0FA-55D6DBAA7B11}" dt="2023-11-13T00:47:30.844" v="920" actId="478"/>
          <ac:spMkLst>
            <pc:docMk/>
            <pc:sldMk cId="2290778968" sldId="642"/>
            <ac:spMk id="25" creationId="{FE19F466-67D7-344B-4BC6-2E135D578136}"/>
          </ac:spMkLst>
        </pc:spChg>
        <pc:spChg chg="del">
          <ac:chgData name="miraj sinya" userId="9f99502c73333c07" providerId="LiveId" clId="{1B2898EF-2D25-40F5-B0FA-55D6DBAA7B11}" dt="2023-11-13T00:47:30.844" v="920" actId="478"/>
          <ac:spMkLst>
            <pc:docMk/>
            <pc:sldMk cId="2290778968" sldId="642"/>
            <ac:spMk id="26" creationId="{FC04F0CD-AF27-24D8-3E15-A23A7BA88C80}"/>
          </ac:spMkLst>
        </pc:spChg>
        <pc:spChg chg="del">
          <ac:chgData name="miraj sinya" userId="9f99502c73333c07" providerId="LiveId" clId="{1B2898EF-2D25-40F5-B0FA-55D6DBAA7B11}" dt="2023-11-13T00:47:30.844" v="920" actId="478"/>
          <ac:spMkLst>
            <pc:docMk/>
            <pc:sldMk cId="2290778968" sldId="642"/>
            <ac:spMk id="27" creationId="{4B7D1D81-B082-F85E-B8DF-A87AEC53DE50}"/>
          </ac:spMkLst>
        </pc:spChg>
        <pc:spChg chg="del">
          <ac:chgData name="miraj sinya" userId="9f99502c73333c07" providerId="LiveId" clId="{1B2898EF-2D25-40F5-B0FA-55D6DBAA7B11}" dt="2023-11-13T00:47:30.844" v="920" actId="478"/>
          <ac:spMkLst>
            <pc:docMk/>
            <pc:sldMk cId="2290778968" sldId="642"/>
            <ac:spMk id="28" creationId="{2C894528-B932-5811-C7B4-B1C3A8FEC555}"/>
          </ac:spMkLst>
        </pc:spChg>
        <pc:grpChg chg="del">
          <ac:chgData name="miraj sinya" userId="9f99502c73333c07" providerId="LiveId" clId="{1B2898EF-2D25-40F5-B0FA-55D6DBAA7B11}" dt="2023-11-13T00:47:30.844" v="920" actId="478"/>
          <ac:grpSpMkLst>
            <pc:docMk/>
            <pc:sldMk cId="2290778968" sldId="642"/>
            <ac:grpSpMk id="29" creationId="{BFBEDF10-C7B6-3FC0-1958-47A32EB19787}"/>
          </ac:grpSpMkLst>
        </pc:grpChg>
        <pc:grpChg chg="del">
          <ac:chgData name="miraj sinya" userId="9f99502c73333c07" providerId="LiveId" clId="{1B2898EF-2D25-40F5-B0FA-55D6DBAA7B11}" dt="2023-11-13T00:47:30.844" v="920" actId="478"/>
          <ac:grpSpMkLst>
            <pc:docMk/>
            <pc:sldMk cId="2290778968" sldId="642"/>
            <ac:grpSpMk id="30" creationId="{1EFF5BE0-9F61-8B4E-45CE-3EBACE68EF93}"/>
          </ac:grpSpMkLst>
        </pc:grpChg>
        <pc:grpChg chg="del">
          <ac:chgData name="miraj sinya" userId="9f99502c73333c07" providerId="LiveId" clId="{1B2898EF-2D25-40F5-B0FA-55D6DBAA7B11}" dt="2023-11-13T00:47:30.844" v="920" actId="478"/>
          <ac:grpSpMkLst>
            <pc:docMk/>
            <pc:sldMk cId="2290778968" sldId="642"/>
            <ac:grpSpMk id="64" creationId="{94A6FC51-2A6A-C64C-F560-E7EF57104345}"/>
          </ac:grpSpMkLst>
        </pc:grpChg>
        <pc:grpChg chg="del">
          <ac:chgData name="miraj sinya" userId="9f99502c73333c07" providerId="LiveId" clId="{1B2898EF-2D25-40F5-B0FA-55D6DBAA7B11}" dt="2023-11-13T00:47:30.844" v="920" actId="478"/>
          <ac:grpSpMkLst>
            <pc:docMk/>
            <pc:sldMk cId="2290778968" sldId="642"/>
            <ac:grpSpMk id="67" creationId="{4E32D611-33D6-3F43-CD96-33E3B70382CE}"/>
          </ac:grpSpMkLst>
        </pc:grpChg>
        <pc:picChg chg="add mod">
          <ac:chgData name="miraj sinya" userId="9f99502c73333c07" providerId="LiveId" clId="{1B2898EF-2D25-40F5-B0FA-55D6DBAA7B11}" dt="2023-11-14T00:40:19.997" v="5520" actId="1076"/>
          <ac:picMkLst>
            <pc:docMk/>
            <pc:sldMk cId="2290778968" sldId="642"/>
            <ac:picMk id="5" creationId="{9DF7CA7B-042B-79E8-E747-C85186F91046}"/>
          </ac:picMkLst>
        </pc:picChg>
        <pc:picChg chg="del">
          <ac:chgData name="miraj sinya" userId="9f99502c73333c07" providerId="LiveId" clId="{1B2898EF-2D25-40F5-B0FA-55D6DBAA7B11}" dt="2023-11-13T00:47:30.844" v="920" actId="478"/>
          <ac:picMkLst>
            <pc:docMk/>
            <pc:sldMk cId="2290778968" sldId="642"/>
            <ac:picMk id="10" creationId="{1A166E08-11EB-34DC-E7A9-6E5BAF668496}"/>
          </ac:picMkLst>
        </pc:picChg>
        <pc:picChg chg="del">
          <ac:chgData name="miraj sinya" userId="9f99502c73333c07" providerId="LiveId" clId="{1B2898EF-2D25-40F5-B0FA-55D6DBAA7B11}" dt="2023-11-13T00:47:30.844" v="920" actId="478"/>
          <ac:picMkLst>
            <pc:docMk/>
            <pc:sldMk cId="2290778968" sldId="642"/>
            <ac:picMk id="12" creationId="{7F7A2465-B6E4-7B2E-3008-E59569D103A8}"/>
          </ac:picMkLst>
        </pc:picChg>
        <pc:cxnChg chg="del">
          <ac:chgData name="miraj sinya" userId="9f99502c73333c07" providerId="LiveId" clId="{1B2898EF-2D25-40F5-B0FA-55D6DBAA7B11}" dt="2023-11-13T00:47:30.844" v="920" actId="478"/>
          <ac:cxnSpMkLst>
            <pc:docMk/>
            <pc:sldMk cId="2290778968" sldId="642"/>
            <ac:cxnSpMk id="9" creationId="{0BCFCE62-4CD6-B52E-1F5F-1BCD157AAE9D}"/>
          </ac:cxnSpMkLst>
        </pc:cxnChg>
        <pc:cxnChg chg="del">
          <ac:chgData name="miraj sinya" userId="9f99502c73333c07" providerId="LiveId" clId="{1B2898EF-2D25-40F5-B0FA-55D6DBAA7B11}" dt="2023-11-13T00:47:30.844" v="920" actId="478"/>
          <ac:cxnSpMkLst>
            <pc:docMk/>
            <pc:sldMk cId="2290778968" sldId="642"/>
            <ac:cxnSpMk id="15" creationId="{3E6A42B9-9A4A-276F-B393-4407984F5329}"/>
          </ac:cxnSpMkLst>
        </pc:cxnChg>
        <pc:cxnChg chg="del mod">
          <ac:chgData name="miraj sinya" userId="9f99502c73333c07" providerId="LiveId" clId="{1B2898EF-2D25-40F5-B0FA-55D6DBAA7B11}" dt="2023-11-13T00:47:30.844" v="920" actId="478"/>
          <ac:cxnSpMkLst>
            <pc:docMk/>
            <pc:sldMk cId="2290778968" sldId="642"/>
            <ac:cxnSpMk id="16" creationId="{6A3191F8-8028-E0C3-54C3-7122487D006E}"/>
          </ac:cxnSpMkLst>
        </pc:cxnChg>
        <pc:cxnChg chg="mod">
          <ac:chgData name="miraj sinya" userId="9f99502c73333c07" providerId="LiveId" clId="{1B2898EF-2D25-40F5-B0FA-55D6DBAA7B11}" dt="2023-11-13T00:47:30.844" v="920" actId="478"/>
          <ac:cxnSpMkLst>
            <pc:docMk/>
            <pc:sldMk cId="2290778968" sldId="642"/>
            <ac:cxnSpMk id="34" creationId="{086A4AA3-B307-6232-F5C3-B4CE6AAC500B}"/>
          </ac:cxnSpMkLst>
        </pc:cxnChg>
      </pc:sldChg>
      <pc:sldChg chg="addSp delSp modSp add mod ord">
        <pc:chgData name="miraj sinya" userId="9f99502c73333c07" providerId="LiveId" clId="{1B2898EF-2D25-40F5-B0FA-55D6DBAA7B11}" dt="2023-11-14T00:50:41.959" v="5640" actId="1076"/>
        <pc:sldMkLst>
          <pc:docMk/>
          <pc:sldMk cId="1084749955" sldId="643"/>
        </pc:sldMkLst>
        <pc:spChg chg="mod">
          <ac:chgData name="miraj sinya" userId="9f99502c73333c07" providerId="LiveId" clId="{1B2898EF-2D25-40F5-B0FA-55D6DBAA7B11}" dt="2023-11-14T00:48:02.388" v="5617" actId="20577"/>
          <ac:spMkLst>
            <pc:docMk/>
            <pc:sldMk cId="1084749955" sldId="643"/>
            <ac:spMk id="2" creationId="{2BD9482C-9809-78C2-DBBB-630F5596988E}"/>
          </ac:spMkLst>
        </pc:spChg>
        <pc:picChg chg="add del mod">
          <ac:chgData name="miraj sinya" userId="9f99502c73333c07" providerId="LiveId" clId="{1B2898EF-2D25-40F5-B0FA-55D6DBAA7B11}" dt="2023-11-14T00:45:57.550" v="5549" actId="21"/>
          <ac:picMkLst>
            <pc:docMk/>
            <pc:sldMk cId="1084749955" sldId="643"/>
            <ac:picMk id="5" creationId="{6096189D-C933-9473-E4C3-0CEB4865BF92}"/>
          </ac:picMkLst>
        </pc:picChg>
        <pc:picChg chg="add mod">
          <ac:chgData name="miraj sinya" userId="9f99502c73333c07" providerId="LiveId" clId="{1B2898EF-2D25-40F5-B0FA-55D6DBAA7B11}" dt="2023-11-14T00:50:41.959" v="5640" actId="1076"/>
          <ac:picMkLst>
            <pc:docMk/>
            <pc:sldMk cId="1084749955" sldId="643"/>
            <ac:picMk id="7" creationId="{4704B896-A53B-3EE5-225F-88DA7C31C4B7}"/>
          </ac:picMkLst>
        </pc:picChg>
      </pc:sldChg>
      <pc:sldChg chg="modSp new mod">
        <pc:chgData name="miraj sinya" userId="9f99502c73333c07" providerId="LiveId" clId="{1B2898EF-2D25-40F5-B0FA-55D6DBAA7B11}" dt="2023-11-14T00:40:05.861" v="5516" actId="20577"/>
        <pc:sldMkLst>
          <pc:docMk/>
          <pc:sldMk cId="371668594" sldId="644"/>
        </pc:sldMkLst>
        <pc:spChg chg="mod">
          <ac:chgData name="miraj sinya" userId="9f99502c73333c07" providerId="LiveId" clId="{1B2898EF-2D25-40F5-B0FA-55D6DBAA7B11}" dt="2023-11-14T00:40:05.861" v="5516" actId="20577"/>
          <ac:spMkLst>
            <pc:docMk/>
            <pc:sldMk cId="371668594" sldId="644"/>
            <ac:spMk id="2" creationId="{8C980B3B-C3C4-B122-8CFA-F53F8A230686}"/>
          </ac:spMkLst>
        </pc:spChg>
      </pc:sldChg>
      <pc:sldChg chg="addSp modSp new del mod">
        <pc:chgData name="miraj sinya" userId="9f99502c73333c07" providerId="LiveId" clId="{1B2898EF-2D25-40F5-B0FA-55D6DBAA7B11}" dt="2023-11-13T04:49:17.180" v="2778" actId="47"/>
        <pc:sldMkLst>
          <pc:docMk/>
          <pc:sldMk cId="863469644" sldId="644"/>
        </pc:sldMkLst>
        <pc:spChg chg="mod">
          <ac:chgData name="miraj sinya" userId="9f99502c73333c07" providerId="LiveId" clId="{1B2898EF-2D25-40F5-B0FA-55D6DBAA7B11}" dt="2023-11-13T04:01:26.921" v="1705"/>
          <ac:spMkLst>
            <pc:docMk/>
            <pc:sldMk cId="863469644" sldId="644"/>
            <ac:spMk id="4" creationId="{E5353B2A-897E-1BBD-A216-1E54E2FCFE1E}"/>
          </ac:spMkLst>
        </pc:spChg>
        <pc:spChg chg="mod">
          <ac:chgData name="miraj sinya" userId="9f99502c73333c07" providerId="LiveId" clId="{1B2898EF-2D25-40F5-B0FA-55D6DBAA7B11}" dt="2023-11-13T04:01:26.921" v="1705"/>
          <ac:spMkLst>
            <pc:docMk/>
            <pc:sldMk cId="863469644" sldId="644"/>
            <ac:spMk id="5" creationId="{7E16E438-9276-27A6-04B1-920B303F11CC}"/>
          </ac:spMkLst>
        </pc:spChg>
        <pc:spChg chg="mod">
          <ac:chgData name="miraj sinya" userId="9f99502c73333c07" providerId="LiveId" clId="{1B2898EF-2D25-40F5-B0FA-55D6DBAA7B11}" dt="2023-11-13T04:01:26.921" v="1705"/>
          <ac:spMkLst>
            <pc:docMk/>
            <pc:sldMk cId="863469644" sldId="644"/>
            <ac:spMk id="6" creationId="{F1619742-6002-770D-FA43-67CEA0AFEB3C}"/>
          </ac:spMkLst>
        </pc:spChg>
        <pc:spChg chg="mod">
          <ac:chgData name="miraj sinya" userId="9f99502c73333c07" providerId="LiveId" clId="{1B2898EF-2D25-40F5-B0FA-55D6DBAA7B11}" dt="2023-11-13T04:01:26.921" v="1705"/>
          <ac:spMkLst>
            <pc:docMk/>
            <pc:sldMk cId="863469644" sldId="644"/>
            <ac:spMk id="7" creationId="{2E75FE9A-C735-6046-46D0-A551BAD4AAB9}"/>
          </ac:spMkLst>
        </pc:spChg>
        <pc:spChg chg="mod">
          <ac:chgData name="miraj sinya" userId="9f99502c73333c07" providerId="LiveId" clId="{1B2898EF-2D25-40F5-B0FA-55D6DBAA7B11}" dt="2023-11-13T04:02:33.646" v="1706" actId="207"/>
          <ac:spMkLst>
            <pc:docMk/>
            <pc:sldMk cId="863469644" sldId="644"/>
            <ac:spMk id="8" creationId="{E98DC0C7-44AD-44A2-167B-D3EB8237DB4C}"/>
          </ac:spMkLst>
        </pc:spChg>
        <pc:spChg chg="mod">
          <ac:chgData name="miraj sinya" userId="9f99502c73333c07" providerId="LiveId" clId="{1B2898EF-2D25-40F5-B0FA-55D6DBAA7B11}" dt="2023-11-13T04:01:26.921" v="1705"/>
          <ac:spMkLst>
            <pc:docMk/>
            <pc:sldMk cId="863469644" sldId="644"/>
            <ac:spMk id="11" creationId="{607EBF8B-AA26-20D7-9CDC-BFB35DC298E4}"/>
          </ac:spMkLst>
        </pc:spChg>
        <pc:spChg chg="mod">
          <ac:chgData name="miraj sinya" userId="9f99502c73333c07" providerId="LiveId" clId="{1B2898EF-2D25-40F5-B0FA-55D6DBAA7B11}" dt="2023-11-13T04:01:26.921" v="1705"/>
          <ac:spMkLst>
            <pc:docMk/>
            <pc:sldMk cId="863469644" sldId="644"/>
            <ac:spMk id="12" creationId="{5FB56133-449D-16AA-9E85-F737D8EBA494}"/>
          </ac:spMkLst>
        </pc:spChg>
        <pc:spChg chg="mod">
          <ac:chgData name="miraj sinya" userId="9f99502c73333c07" providerId="LiveId" clId="{1B2898EF-2D25-40F5-B0FA-55D6DBAA7B11}" dt="2023-11-13T04:01:26.921" v="1705"/>
          <ac:spMkLst>
            <pc:docMk/>
            <pc:sldMk cId="863469644" sldId="644"/>
            <ac:spMk id="15" creationId="{A6B69A19-79EB-17F8-6EFA-8DDEFC01E43D}"/>
          </ac:spMkLst>
        </pc:spChg>
        <pc:spChg chg="mod">
          <ac:chgData name="miraj sinya" userId="9f99502c73333c07" providerId="LiveId" clId="{1B2898EF-2D25-40F5-B0FA-55D6DBAA7B11}" dt="2023-11-13T04:01:26.921" v="1705"/>
          <ac:spMkLst>
            <pc:docMk/>
            <pc:sldMk cId="863469644" sldId="644"/>
            <ac:spMk id="20" creationId="{EDBC4A88-F77B-30B6-643F-884665C1BFE5}"/>
          </ac:spMkLst>
        </pc:spChg>
        <pc:spChg chg="mod">
          <ac:chgData name="miraj sinya" userId="9f99502c73333c07" providerId="LiveId" clId="{1B2898EF-2D25-40F5-B0FA-55D6DBAA7B11}" dt="2023-11-13T04:01:26.921" v="1705"/>
          <ac:spMkLst>
            <pc:docMk/>
            <pc:sldMk cId="863469644" sldId="644"/>
            <ac:spMk id="21" creationId="{B825EA45-4C11-1E2A-BC34-6E49834495BC}"/>
          </ac:spMkLst>
        </pc:spChg>
        <pc:spChg chg="mod">
          <ac:chgData name="miraj sinya" userId="9f99502c73333c07" providerId="LiveId" clId="{1B2898EF-2D25-40F5-B0FA-55D6DBAA7B11}" dt="2023-11-13T04:01:26.921" v="1705"/>
          <ac:spMkLst>
            <pc:docMk/>
            <pc:sldMk cId="863469644" sldId="644"/>
            <ac:spMk id="22" creationId="{1493AB99-99D1-5E17-422C-AC59ECA3F0CA}"/>
          </ac:spMkLst>
        </pc:spChg>
        <pc:spChg chg="mod">
          <ac:chgData name="miraj sinya" userId="9f99502c73333c07" providerId="LiveId" clId="{1B2898EF-2D25-40F5-B0FA-55D6DBAA7B11}" dt="2023-11-13T04:01:26.921" v="1705"/>
          <ac:spMkLst>
            <pc:docMk/>
            <pc:sldMk cId="863469644" sldId="644"/>
            <ac:spMk id="23" creationId="{5EB2EC05-4BAA-56DE-9A93-429035F03233}"/>
          </ac:spMkLst>
        </pc:spChg>
        <pc:spChg chg="mod">
          <ac:chgData name="miraj sinya" userId="9f99502c73333c07" providerId="LiveId" clId="{1B2898EF-2D25-40F5-B0FA-55D6DBAA7B11}" dt="2023-11-13T04:01:26.921" v="1705"/>
          <ac:spMkLst>
            <pc:docMk/>
            <pc:sldMk cId="863469644" sldId="644"/>
            <ac:spMk id="24" creationId="{BF201149-C934-E0F0-0680-B87668C23FAF}"/>
          </ac:spMkLst>
        </pc:spChg>
        <pc:spChg chg="mod">
          <ac:chgData name="miraj sinya" userId="9f99502c73333c07" providerId="LiveId" clId="{1B2898EF-2D25-40F5-B0FA-55D6DBAA7B11}" dt="2023-11-13T04:01:26.921" v="1705"/>
          <ac:spMkLst>
            <pc:docMk/>
            <pc:sldMk cId="863469644" sldId="644"/>
            <ac:spMk id="25" creationId="{C796A357-3359-965E-BBE5-F8C17D34AC13}"/>
          </ac:spMkLst>
        </pc:spChg>
        <pc:spChg chg="mod">
          <ac:chgData name="miraj sinya" userId="9f99502c73333c07" providerId="LiveId" clId="{1B2898EF-2D25-40F5-B0FA-55D6DBAA7B11}" dt="2023-11-13T04:01:26.921" v="1705"/>
          <ac:spMkLst>
            <pc:docMk/>
            <pc:sldMk cId="863469644" sldId="644"/>
            <ac:spMk id="26" creationId="{A3AB3BDC-3F47-1563-D8F0-DB56C49CE660}"/>
          </ac:spMkLst>
        </pc:spChg>
        <pc:spChg chg="mod">
          <ac:chgData name="miraj sinya" userId="9f99502c73333c07" providerId="LiveId" clId="{1B2898EF-2D25-40F5-B0FA-55D6DBAA7B11}" dt="2023-11-13T04:01:26.921" v="1705"/>
          <ac:spMkLst>
            <pc:docMk/>
            <pc:sldMk cId="863469644" sldId="644"/>
            <ac:spMk id="27" creationId="{E7229F97-F1FA-6D88-4ED3-53194C6A67E1}"/>
          </ac:spMkLst>
        </pc:spChg>
        <pc:spChg chg="mod">
          <ac:chgData name="miraj sinya" userId="9f99502c73333c07" providerId="LiveId" clId="{1B2898EF-2D25-40F5-B0FA-55D6DBAA7B11}" dt="2023-11-13T04:01:26.921" v="1705"/>
          <ac:spMkLst>
            <pc:docMk/>
            <pc:sldMk cId="863469644" sldId="644"/>
            <ac:spMk id="31" creationId="{FDFAD09B-81F7-9BF4-87A2-442DF3175C95}"/>
          </ac:spMkLst>
        </pc:spChg>
        <pc:spChg chg="mod">
          <ac:chgData name="miraj sinya" userId="9f99502c73333c07" providerId="LiveId" clId="{1B2898EF-2D25-40F5-B0FA-55D6DBAA7B11}" dt="2023-11-13T04:01:26.921" v="1705"/>
          <ac:spMkLst>
            <pc:docMk/>
            <pc:sldMk cId="863469644" sldId="644"/>
            <ac:spMk id="32" creationId="{58C3B325-B89B-3811-232C-DC543A1A752E}"/>
          </ac:spMkLst>
        </pc:spChg>
        <pc:spChg chg="mod">
          <ac:chgData name="miraj sinya" userId="9f99502c73333c07" providerId="LiveId" clId="{1B2898EF-2D25-40F5-B0FA-55D6DBAA7B11}" dt="2023-11-13T04:01:26.921" v="1705"/>
          <ac:spMkLst>
            <pc:docMk/>
            <pc:sldMk cId="863469644" sldId="644"/>
            <ac:spMk id="33" creationId="{8FA40E53-C434-1E38-2D0C-C19ABA3AD11D}"/>
          </ac:spMkLst>
        </pc:spChg>
        <pc:spChg chg="mod">
          <ac:chgData name="miraj sinya" userId="9f99502c73333c07" providerId="LiveId" clId="{1B2898EF-2D25-40F5-B0FA-55D6DBAA7B11}" dt="2023-11-13T04:01:26.921" v="1705"/>
          <ac:spMkLst>
            <pc:docMk/>
            <pc:sldMk cId="863469644" sldId="644"/>
            <ac:spMk id="36" creationId="{6079DEAC-B3F3-9CBF-B1B4-4829A096B0F2}"/>
          </ac:spMkLst>
        </pc:spChg>
        <pc:spChg chg="mod">
          <ac:chgData name="miraj sinya" userId="9f99502c73333c07" providerId="LiveId" clId="{1B2898EF-2D25-40F5-B0FA-55D6DBAA7B11}" dt="2023-11-13T04:01:26.921" v="1705"/>
          <ac:spMkLst>
            <pc:docMk/>
            <pc:sldMk cId="863469644" sldId="644"/>
            <ac:spMk id="39" creationId="{D9643302-7675-C080-83EA-14143A2C6A2C}"/>
          </ac:spMkLst>
        </pc:spChg>
        <pc:spChg chg="mod">
          <ac:chgData name="miraj sinya" userId="9f99502c73333c07" providerId="LiveId" clId="{1B2898EF-2D25-40F5-B0FA-55D6DBAA7B11}" dt="2023-11-13T04:01:26.921" v="1705"/>
          <ac:spMkLst>
            <pc:docMk/>
            <pc:sldMk cId="863469644" sldId="644"/>
            <ac:spMk id="40" creationId="{6F266A45-1A38-BDA9-6AF1-B3E2B933F1F4}"/>
          </ac:spMkLst>
        </pc:spChg>
        <pc:spChg chg="mod">
          <ac:chgData name="miraj sinya" userId="9f99502c73333c07" providerId="LiveId" clId="{1B2898EF-2D25-40F5-B0FA-55D6DBAA7B11}" dt="2023-11-13T04:03:12.815" v="1712" actId="207"/>
          <ac:spMkLst>
            <pc:docMk/>
            <pc:sldMk cId="863469644" sldId="644"/>
            <ac:spMk id="41" creationId="{2592DA6E-0105-E5C0-12ED-27C830F7832E}"/>
          </ac:spMkLst>
        </pc:spChg>
        <pc:spChg chg="mod">
          <ac:chgData name="miraj sinya" userId="9f99502c73333c07" providerId="LiveId" clId="{1B2898EF-2D25-40F5-B0FA-55D6DBAA7B11}" dt="2023-11-13T04:03:11.530" v="1710" actId="207"/>
          <ac:spMkLst>
            <pc:docMk/>
            <pc:sldMk cId="863469644" sldId="644"/>
            <ac:spMk id="42" creationId="{29E4B241-BF8C-77CC-4A00-11D48DFA62ED}"/>
          </ac:spMkLst>
        </pc:spChg>
        <pc:spChg chg="mod">
          <ac:chgData name="miraj sinya" userId="9f99502c73333c07" providerId="LiveId" clId="{1B2898EF-2D25-40F5-B0FA-55D6DBAA7B11}" dt="2023-11-13T04:01:26.921" v="1705"/>
          <ac:spMkLst>
            <pc:docMk/>
            <pc:sldMk cId="863469644" sldId="644"/>
            <ac:spMk id="43" creationId="{A3112161-A6FF-C64E-635C-1BA75322D593}"/>
          </ac:spMkLst>
        </pc:spChg>
        <pc:spChg chg="mod">
          <ac:chgData name="miraj sinya" userId="9f99502c73333c07" providerId="LiveId" clId="{1B2898EF-2D25-40F5-B0FA-55D6DBAA7B11}" dt="2023-11-13T04:01:26.921" v="1705"/>
          <ac:spMkLst>
            <pc:docMk/>
            <pc:sldMk cId="863469644" sldId="644"/>
            <ac:spMk id="44" creationId="{A039183C-FBEA-B000-8A5B-B700FC1C3512}"/>
          </ac:spMkLst>
        </pc:spChg>
        <pc:grpChg chg="add mod">
          <ac:chgData name="miraj sinya" userId="9f99502c73333c07" providerId="LiveId" clId="{1B2898EF-2D25-40F5-B0FA-55D6DBAA7B11}" dt="2023-11-13T04:01:26.921" v="1705"/>
          <ac:grpSpMkLst>
            <pc:docMk/>
            <pc:sldMk cId="863469644" sldId="644"/>
            <ac:grpSpMk id="3" creationId="{DE629BCB-3CE3-E4B0-6B93-68DD9AFF2F75}"/>
          </ac:grpSpMkLst>
        </pc:grpChg>
        <pc:grpChg chg="mod">
          <ac:chgData name="miraj sinya" userId="9f99502c73333c07" providerId="LiveId" clId="{1B2898EF-2D25-40F5-B0FA-55D6DBAA7B11}" dt="2023-11-13T04:01:26.921" v="1705"/>
          <ac:grpSpMkLst>
            <pc:docMk/>
            <pc:sldMk cId="863469644" sldId="644"/>
            <ac:grpSpMk id="10" creationId="{A67CB16E-BABF-A619-BE95-DC6203AD0094}"/>
          </ac:grpSpMkLst>
        </pc:grpChg>
        <pc:grpChg chg="mod">
          <ac:chgData name="miraj sinya" userId="9f99502c73333c07" providerId="LiveId" clId="{1B2898EF-2D25-40F5-B0FA-55D6DBAA7B11}" dt="2023-11-13T04:01:26.921" v="1705"/>
          <ac:grpSpMkLst>
            <pc:docMk/>
            <pc:sldMk cId="863469644" sldId="644"/>
            <ac:grpSpMk id="14" creationId="{D4E5615A-77E0-1E3F-7457-09E5B163533F}"/>
          </ac:grpSpMkLst>
        </pc:grpChg>
        <pc:grpChg chg="mod">
          <ac:chgData name="miraj sinya" userId="9f99502c73333c07" providerId="LiveId" clId="{1B2898EF-2D25-40F5-B0FA-55D6DBAA7B11}" dt="2023-11-13T04:01:26.921" v="1705"/>
          <ac:grpSpMkLst>
            <pc:docMk/>
            <pc:sldMk cId="863469644" sldId="644"/>
            <ac:grpSpMk id="28" creationId="{1F671647-ED52-D9C0-4D5D-5AB52381B664}"/>
          </ac:grpSpMkLst>
        </pc:grpChg>
        <pc:grpChg chg="mod">
          <ac:chgData name="miraj sinya" userId="9f99502c73333c07" providerId="LiveId" clId="{1B2898EF-2D25-40F5-B0FA-55D6DBAA7B11}" dt="2023-11-13T04:01:26.921" v="1705"/>
          <ac:grpSpMkLst>
            <pc:docMk/>
            <pc:sldMk cId="863469644" sldId="644"/>
            <ac:grpSpMk id="34" creationId="{2CA2A7DF-288C-447A-B169-E0E9CC16339D}"/>
          </ac:grpSpMkLst>
        </pc:grpChg>
        <pc:grpChg chg="mod">
          <ac:chgData name="miraj sinya" userId="9f99502c73333c07" providerId="LiveId" clId="{1B2898EF-2D25-40F5-B0FA-55D6DBAA7B11}" dt="2023-11-13T04:01:26.921" v="1705"/>
          <ac:grpSpMkLst>
            <pc:docMk/>
            <pc:sldMk cId="863469644" sldId="644"/>
            <ac:grpSpMk id="35" creationId="{018FF838-5D4A-0D1F-1AD3-B3DD5A18B2BB}"/>
          </ac:grpSpMkLst>
        </pc:grpChg>
        <pc:cxnChg chg="mod">
          <ac:chgData name="miraj sinya" userId="9f99502c73333c07" providerId="LiveId" clId="{1B2898EF-2D25-40F5-B0FA-55D6DBAA7B11}" dt="2023-11-13T04:01:26.921" v="1705"/>
          <ac:cxnSpMkLst>
            <pc:docMk/>
            <pc:sldMk cId="863469644" sldId="644"/>
            <ac:cxnSpMk id="9" creationId="{82FAAD51-9F04-5917-1852-46BD1356C839}"/>
          </ac:cxnSpMkLst>
        </pc:cxnChg>
        <pc:cxnChg chg="mod">
          <ac:chgData name="miraj sinya" userId="9f99502c73333c07" providerId="LiveId" clId="{1B2898EF-2D25-40F5-B0FA-55D6DBAA7B11}" dt="2023-11-13T04:01:26.921" v="1705"/>
          <ac:cxnSpMkLst>
            <pc:docMk/>
            <pc:sldMk cId="863469644" sldId="644"/>
            <ac:cxnSpMk id="13" creationId="{B6BDB032-661E-1357-6313-EE9DF86FC613}"/>
          </ac:cxnSpMkLst>
        </pc:cxnChg>
        <pc:cxnChg chg="mod">
          <ac:chgData name="miraj sinya" userId="9f99502c73333c07" providerId="LiveId" clId="{1B2898EF-2D25-40F5-B0FA-55D6DBAA7B11}" dt="2023-11-13T04:01:26.921" v="1705"/>
          <ac:cxnSpMkLst>
            <pc:docMk/>
            <pc:sldMk cId="863469644" sldId="644"/>
            <ac:cxnSpMk id="16" creationId="{5E0EAC9D-5794-D96F-510A-7A060DF9F19B}"/>
          </ac:cxnSpMkLst>
        </pc:cxnChg>
        <pc:cxnChg chg="mod">
          <ac:chgData name="miraj sinya" userId="9f99502c73333c07" providerId="LiveId" clId="{1B2898EF-2D25-40F5-B0FA-55D6DBAA7B11}" dt="2023-11-13T04:01:26.921" v="1705"/>
          <ac:cxnSpMkLst>
            <pc:docMk/>
            <pc:sldMk cId="863469644" sldId="644"/>
            <ac:cxnSpMk id="17" creationId="{CE3EA753-C2D9-BCAE-F97C-8C7F9B14005A}"/>
          </ac:cxnSpMkLst>
        </pc:cxnChg>
        <pc:cxnChg chg="mod">
          <ac:chgData name="miraj sinya" userId="9f99502c73333c07" providerId="LiveId" clId="{1B2898EF-2D25-40F5-B0FA-55D6DBAA7B11}" dt="2023-11-13T04:01:26.921" v="1705"/>
          <ac:cxnSpMkLst>
            <pc:docMk/>
            <pc:sldMk cId="863469644" sldId="644"/>
            <ac:cxnSpMk id="18" creationId="{AE2FF04F-AF0C-DE0C-E79B-F7FF0EC92C15}"/>
          </ac:cxnSpMkLst>
        </pc:cxnChg>
        <pc:cxnChg chg="mod">
          <ac:chgData name="miraj sinya" userId="9f99502c73333c07" providerId="LiveId" clId="{1B2898EF-2D25-40F5-B0FA-55D6DBAA7B11}" dt="2023-11-13T04:01:26.921" v="1705"/>
          <ac:cxnSpMkLst>
            <pc:docMk/>
            <pc:sldMk cId="863469644" sldId="644"/>
            <ac:cxnSpMk id="19" creationId="{172F2D10-4024-F1A9-2E94-17CC0BE9472E}"/>
          </ac:cxnSpMkLst>
        </pc:cxnChg>
        <pc:cxnChg chg="mod">
          <ac:chgData name="miraj sinya" userId="9f99502c73333c07" providerId="LiveId" clId="{1B2898EF-2D25-40F5-B0FA-55D6DBAA7B11}" dt="2023-11-13T04:01:26.921" v="1705"/>
          <ac:cxnSpMkLst>
            <pc:docMk/>
            <pc:sldMk cId="863469644" sldId="644"/>
            <ac:cxnSpMk id="29" creationId="{0B817194-E3D2-0EAC-131D-83E2DC32F72F}"/>
          </ac:cxnSpMkLst>
        </pc:cxnChg>
        <pc:cxnChg chg="mod">
          <ac:chgData name="miraj sinya" userId="9f99502c73333c07" providerId="LiveId" clId="{1B2898EF-2D25-40F5-B0FA-55D6DBAA7B11}" dt="2023-11-13T04:01:26.921" v="1705"/>
          <ac:cxnSpMkLst>
            <pc:docMk/>
            <pc:sldMk cId="863469644" sldId="644"/>
            <ac:cxnSpMk id="30" creationId="{AFC5764B-AFBD-DDBE-C43B-C1271DE4767F}"/>
          </ac:cxnSpMkLst>
        </pc:cxnChg>
        <pc:cxnChg chg="mod">
          <ac:chgData name="miraj sinya" userId="9f99502c73333c07" providerId="LiveId" clId="{1B2898EF-2D25-40F5-B0FA-55D6DBAA7B11}" dt="2023-11-13T04:01:26.921" v="1705"/>
          <ac:cxnSpMkLst>
            <pc:docMk/>
            <pc:sldMk cId="863469644" sldId="644"/>
            <ac:cxnSpMk id="37" creationId="{B1811287-476D-A3F0-5CBD-A27ED053C3B3}"/>
          </ac:cxnSpMkLst>
        </pc:cxnChg>
        <pc:cxnChg chg="mod">
          <ac:chgData name="miraj sinya" userId="9f99502c73333c07" providerId="LiveId" clId="{1B2898EF-2D25-40F5-B0FA-55D6DBAA7B11}" dt="2023-11-13T04:01:26.921" v="1705"/>
          <ac:cxnSpMkLst>
            <pc:docMk/>
            <pc:sldMk cId="863469644" sldId="644"/>
            <ac:cxnSpMk id="38" creationId="{1DC6B47B-6B92-D92A-7731-0CF7728BB388}"/>
          </ac:cxnSpMkLst>
        </pc:cxnChg>
      </pc:sldChg>
      <pc:sldChg chg="modSp new mod">
        <pc:chgData name="miraj sinya" userId="9f99502c73333c07" providerId="LiveId" clId="{1B2898EF-2D25-40F5-B0FA-55D6DBAA7B11}" dt="2023-11-14T00:41:17.957" v="5546" actId="20577"/>
        <pc:sldMkLst>
          <pc:docMk/>
          <pc:sldMk cId="2153428761" sldId="645"/>
        </pc:sldMkLst>
        <pc:spChg chg="mod">
          <ac:chgData name="miraj sinya" userId="9f99502c73333c07" providerId="LiveId" clId="{1B2898EF-2D25-40F5-B0FA-55D6DBAA7B11}" dt="2023-11-14T00:41:17.957" v="5546" actId="20577"/>
          <ac:spMkLst>
            <pc:docMk/>
            <pc:sldMk cId="2153428761" sldId="645"/>
            <ac:spMk id="2" creationId="{E9604ECD-11BC-EC23-98C9-B53A8D75B2C4}"/>
          </ac:spMkLst>
        </pc:spChg>
      </pc:sldChg>
      <pc:sldChg chg="addSp modSp new mod ord">
        <pc:chgData name="miraj sinya" userId="9f99502c73333c07" providerId="LiveId" clId="{1B2898EF-2D25-40F5-B0FA-55D6DBAA7B11}" dt="2023-11-14T01:01:09.717" v="5665" actId="1076"/>
        <pc:sldMkLst>
          <pc:docMk/>
          <pc:sldMk cId="1263379538" sldId="646"/>
        </pc:sldMkLst>
        <pc:spChg chg="mod">
          <ac:chgData name="miraj sinya" userId="9f99502c73333c07" providerId="LiveId" clId="{1B2898EF-2D25-40F5-B0FA-55D6DBAA7B11}" dt="2023-11-14T00:52:21.280" v="5649" actId="20577"/>
          <ac:spMkLst>
            <pc:docMk/>
            <pc:sldMk cId="1263379538" sldId="646"/>
            <ac:spMk id="2" creationId="{64F11D8E-E0AD-C633-5975-BCBEA4CBF86D}"/>
          </ac:spMkLst>
        </pc:spChg>
        <pc:spChg chg="add mod">
          <ac:chgData name="miraj sinya" userId="9f99502c73333c07" providerId="LiveId" clId="{1B2898EF-2D25-40F5-B0FA-55D6DBAA7B11}" dt="2023-11-14T00:48:45.585" v="5621" actId="1076"/>
          <ac:spMkLst>
            <pc:docMk/>
            <pc:sldMk cId="1263379538" sldId="646"/>
            <ac:spMk id="4" creationId="{5227DD2E-8366-D18D-D909-123438734F48}"/>
          </ac:spMkLst>
        </pc:spChg>
        <pc:spChg chg="mod">
          <ac:chgData name="miraj sinya" userId="9f99502c73333c07" providerId="LiveId" clId="{1B2898EF-2D25-40F5-B0FA-55D6DBAA7B11}" dt="2023-11-14T00:48:46.037" v="5622"/>
          <ac:spMkLst>
            <pc:docMk/>
            <pc:sldMk cId="1263379538" sldId="646"/>
            <ac:spMk id="6" creationId="{E67E7AA9-5349-C671-CF4C-5D766EE9D3F4}"/>
          </ac:spMkLst>
        </pc:spChg>
        <pc:grpChg chg="add mod">
          <ac:chgData name="miraj sinya" userId="9f99502c73333c07" providerId="LiveId" clId="{1B2898EF-2D25-40F5-B0FA-55D6DBAA7B11}" dt="2023-11-14T00:48:46.037" v="5622"/>
          <ac:grpSpMkLst>
            <pc:docMk/>
            <pc:sldMk cId="1263379538" sldId="646"/>
            <ac:grpSpMk id="5" creationId="{C9DA5E09-6429-D528-067A-13C6C05F5193}"/>
          </ac:grpSpMkLst>
        </pc:grpChg>
        <pc:picChg chg="add mod">
          <ac:chgData name="miraj sinya" userId="9f99502c73333c07" providerId="LiveId" clId="{1B2898EF-2D25-40F5-B0FA-55D6DBAA7B11}" dt="2023-11-14T01:01:09.717" v="5665" actId="1076"/>
          <ac:picMkLst>
            <pc:docMk/>
            <pc:sldMk cId="1263379538" sldId="646"/>
            <ac:picMk id="3" creationId="{7FAD0618-2137-7E4F-F13D-B7F30BCE64AB}"/>
          </ac:picMkLst>
        </pc:picChg>
        <pc:cxnChg chg="mod">
          <ac:chgData name="miraj sinya" userId="9f99502c73333c07" providerId="LiveId" clId="{1B2898EF-2D25-40F5-B0FA-55D6DBAA7B11}" dt="2023-11-14T00:48:46.037" v="5622"/>
          <ac:cxnSpMkLst>
            <pc:docMk/>
            <pc:sldMk cId="1263379538" sldId="646"/>
            <ac:cxnSpMk id="7" creationId="{4635D48C-3E25-116C-60E0-67327F7F63CF}"/>
          </ac:cxnSpMkLst>
        </pc:cxnChg>
      </pc:sldChg>
      <pc:sldChg chg="new">
        <pc:chgData name="miraj sinya" userId="9f99502c73333c07" providerId="LiveId" clId="{1B2898EF-2D25-40F5-B0FA-55D6DBAA7B11}" dt="2023-11-14T01:03:24.037" v="5666" actId="680"/>
        <pc:sldMkLst>
          <pc:docMk/>
          <pc:sldMk cId="1805925449" sldId="647"/>
        </pc:sldMkLst>
      </pc:sldChg>
    </pc:docChg>
  </pc:docChgLst>
  <pc:docChgLst>
    <pc:chgData name="Roger Mais" userId="S::c0863147@mylambton.ca::6b6b0e9d-267a-4963-973d-c8b0db34df8a" providerId="AD" clId="Web-{D26C1C33-14CF-4CF4-B81E-B245C39BC4BF}"/>
    <pc:docChg chg="addSld delSld modSld sldOrd">
      <pc:chgData name="Roger Mais" userId="S::c0863147@mylambton.ca::6b6b0e9d-267a-4963-973d-c8b0db34df8a" providerId="AD" clId="Web-{D26C1C33-14CF-4CF4-B81E-B245C39BC4BF}" dt="2023-11-15T01:27:09.172" v="1359" actId="20577"/>
      <pc:docMkLst>
        <pc:docMk/>
      </pc:docMkLst>
      <pc:sldChg chg="addSp delSp modSp">
        <pc:chgData name="Roger Mais" userId="S::c0863147@mylambton.ca::6b6b0e9d-267a-4963-973d-c8b0db34df8a" providerId="AD" clId="Web-{D26C1C33-14CF-4CF4-B81E-B245C39BC4BF}" dt="2023-11-15T01:21:03.605" v="1239" actId="14100"/>
        <pc:sldMkLst>
          <pc:docMk/>
          <pc:sldMk cId="3172089129" sldId="649"/>
        </pc:sldMkLst>
        <pc:spChg chg="mod">
          <ac:chgData name="Roger Mais" userId="S::c0863147@mylambton.ca::6b6b0e9d-267a-4963-973d-c8b0db34df8a" providerId="AD" clId="Web-{D26C1C33-14CF-4CF4-B81E-B245C39BC4BF}" dt="2023-11-15T01:19:38.479" v="1233" actId="20577"/>
          <ac:spMkLst>
            <pc:docMk/>
            <pc:sldMk cId="3172089129" sldId="649"/>
            <ac:spMk id="16" creationId="{62DAA095-2CDE-C97C-97CD-43A9F88B00C5}"/>
          </ac:spMkLst>
        </pc:spChg>
        <pc:spChg chg="mod">
          <ac:chgData name="Roger Mais" userId="S::c0863147@mylambton.ca::6b6b0e9d-267a-4963-973d-c8b0db34df8a" providerId="AD" clId="Web-{D26C1C33-14CF-4CF4-B81E-B245C39BC4BF}" dt="2023-11-15T01:21:03.605" v="1239" actId="14100"/>
          <ac:spMkLst>
            <pc:docMk/>
            <pc:sldMk cId="3172089129" sldId="649"/>
            <ac:spMk id="27" creationId="{E2452E23-7ADA-F7E7-4CE8-DCC029E24FE0}"/>
          </ac:spMkLst>
        </pc:spChg>
        <pc:spChg chg="mod">
          <ac:chgData name="Roger Mais" userId="S::c0863147@mylambton.ca::6b6b0e9d-267a-4963-973d-c8b0db34df8a" providerId="AD" clId="Web-{D26C1C33-14CF-4CF4-B81E-B245C39BC4BF}" dt="2023-11-15T01:20:59.511" v="1238" actId="1076"/>
          <ac:spMkLst>
            <pc:docMk/>
            <pc:sldMk cId="3172089129" sldId="649"/>
            <ac:spMk id="34" creationId="{CB905791-57AF-BD83-2660-748CE5D94A84}"/>
          </ac:spMkLst>
        </pc:spChg>
        <pc:spChg chg="mod">
          <ac:chgData name="Roger Mais" userId="S::c0863147@mylambton.ca::6b6b0e9d-267a-4963-973d-c8b0db34df8a" providerId="AD" clId="Web-{D26C1C33-14CF-4CF4-B81E-B245C39BC4BF}" dt="2023-11-15T01:18:09.322" v="1225" actId="20577"/>
          <ac:spMkLst>
            <pc:docMk/>
            <pc:sldMk cId="3172089129" sldId="649"/>
            <ac:spMk id="43" creationId="{BD250FF7-556F-B381-9823-ABC79A0CF2D3}"/>
          </ac:spMkLst>
        </pc:spChg>
        <pc:spChg chg="add del mod">
          <ac:chgData name="Roger Mais" userId="S::c0863147@mylambton.ca::6b6b0e9d-267a-4963-973d-c8b0db34df8a" providerId="AD" clId="Web-{D26C1C33-14CF-4CF4-B81E-B245C39BC4BF}" dt="2023-11-15T01:20:52.839" v="1237"/>
          <ac:spMkLst>
            <pc:docMk/>
            <pc:sldMk cId="3172089129" sldId="649"/>
            <ac:spMk id="45" creationId="{043B8154-516C-6F9D-A501-F0D8AE5C3450}"/>
          </ac:spMkLst>
        </pc:spChg>
        <pc:grpChg chg="mod">
          <ac:chgData name="Roger Mais" userId="S::c0863147@mylambton.ca::6b6b0e9d-267a-4963-973d-c8b0db34df8a" providerId="AD" clId="Web-{D26C1C33-14CF-4CF4-B81E-B245C39BC4BF}" dt="2023-11-15T01:18:21.947" v="1226" actId="1076"/>
          <ac:grpSpMkLst>
            <pc:docMk/>
            <pc:sldMk cId="3172089129" sldId="649"/>
            <ac:grpSpMk id="54" creationId="{1A760222-EF6B-5193-D2FB-E8D1ED9D4CAD}"/>
          </ac:grpSpMkLst>
        </pc:grpChg>
      </pc:sldChg>
      <pc:sldChg chg="addSp modSp new">
        <pc:chgData name="Roger Mais" userId="S::c0863147@mylambton.ca::6b6b0e9d-267a-4963-973d-c8b0db34df8a" providerId="AD" clId="Web-{D26C1C33-14CF-4CF4-B81E-B245C39BC4BF}" dt="2023-11-15T01:15:28.710" v="1201" actId="20577"/>
        <pc:sldMkLst>
          <pc:docMk/>
          <pc:sldMk cId="3433786130" sldId="661"/>
        </pc:sldMkLst>
        <pc:spChg chg="mod">
          <ac:chgData name="Roger Mais" userId="S::c0863147@mylambton.ca::6b6b0e9d-267a-4963-973d-c8b0db34df8a" providerId="AD" clId="Web-{D26C1C33-14CF-4CF4-B81E-B245C39BC4BF}" dt="2023-11-15T01:04:06.999" v="488" actId="20577"/>
          <ac:spMkLst>
            <pc:docMk/>
            <pc:sldMk cId="3433786130" sldId="661"/>
            <ac:spMk id="2" creationId="{CA372987-E89F-70E1-460B-57B4E589FDA0}"/>
          </ac:spMkLst>
        </pc:spChg>
        <pc:spChg chg="add mod">
          <ac:chgData name="Roger Mais" userId="S::c0863147@mylambton.ca::6b6b0e9d-267a-4963-973d-c8b0db34df8a" providerId="AD" clId="Web-{D26C1C33-14CF-4CF4-B81E-B245C39BC4BF}" dt="2023-11-15T01:06:43.438" v="590" actId="20577"/>
          <ac:spMkLst>
            <pc:docMk/>
            <pc:sldMk cId="3433786130" sldId="661"/>
            <ac:spMk id="7" creationId="{4A322D8B-38D6-1BDC-4BC0-A5CF34834AD7}"/>
          </ac:spMkLst>
        </pc:spChg>
        <pc:spChg chg="add mod">
          <ac:chgData name="Roger Mais" userId="S::c0863147@mylambton.ca::6b6b0e9d-267a-4963-973d-c8b0db34df8a" providerId="AD" clId="Web-{D26C1C33-14CF-4CF4-B81E-B245C39BC4BF}" dt="2023-11-15T01:15:28.710" v="1201" actId="20577"/>
          <ac:spMkLst>
            <pc:docMk/>
            <pc:sldMk cId="3433786130" sldId="661"/>
            <ac:spMk id="8" creationId="{FC782A10-2088-140A-6E9E-DFC36E0118E3}"/>
          </ac:spMkLst>
        </pc:spChg>
        <pc:picChg chg="add mod">
          <ac:chgData name="Roger Mais" userId="S::c0863147@mylambton.ca::6b6b0e9d-267a-4963-973d-c8b0db34df8a" providerId="AD" clId="Web-{D26C1C33-14CF-4CF4-B81E-B245C39BC4BF}" dt="2023-11-15T01:09:21.565" v="639" actId="1076"/>
          <ac:picMkLst>
            <pc:docMk/>
            <pc:sldMk cId="3433786130" sldId="661"/>
            <ac:picMk id="3" creationId="{77D25541-B644-BE4C-DA45-46B1EBC7ED0A}"/>
          </ac:picMkLst>
        </pc:picChg>
        <pc:picChg chg="add mod">
          <ac:chgData name="Roger Mais" userId="S::c0863147@mylambton.ca::6b6b0e9d-267a-4963-973d-c8b0db34df8a" providerId="AD" clId="Web-{D26C1C33-14CF-4CF4-B81E-B245C39BC4BF}" dt="2023-11-15T01:09:48.206" v="640" actId="1076"/>
          <ac:picMkLst>
            <pc:docMk/>
            <pc:sldMk cId="3433786130" sldId="661"/>
            <ac:picMk id="4" creationId="{9C01E317-72A3-C63A-31BB-C12C48A5291A}"/>
          </ac:picMkLst>
        </pc:picChg>
        <pc:picChg chg="add mod">
          <ac:chgData name="Roger Mais" userId="S::c0863147@mylambton.ca::6b6b0e9d-267a-4963-973d-c8b0db34df8a" providerId="AD" clId="Web-{D26C1C33-14CF-4CF4-B81E-B245C39BC4BF}" dt="2023-11-15T00:23:25.982" v="7" actId="1076"/>
          <ac:picMkLst>
            <pc:docMk/>
            <pc:sldMk cId="3433786130" sldId="661"/>
            <ac:picMk id="5" creationId="{4E6AF9E8-9D8A-CDDE-C922-2D1547F5B009}"/>
          </ac:picMkLst>
        </pc:picChg>
        <pc:picChg chg="add mod">
          <ac:chgData name="Roger Mais" userId="S::c0863147@mylambton.ca::6b6b0e9d-267a-4963-973d-c8b0db34df8a" providerId="AD" clId="Web-{D26C1C33-14CF-4CF4-B81E-B245C39BC4BF}" dt="2023-11-15T00:23:50.607" v="11" actId="14100"/>
          <ac:picMkLst>
            <pc:docMk/>
            <pc:sldMk cId="3433786130" sldId="661"/>
            <ac:picMk id="6" creationId="{7FD7F17D-B27F-165F-B434-6C86A8108364}"/>
          </ac:picMkLst>
        </pc:picChg>
      </pc:sldChg>
      <pc:sldChg chg="addSp delSp modSp new">
        <pc:chgData name="Roger Mais" userId="S::c0863147@mylambton.ca::6b6b0e9d-267a-4963-973d-c8b0db34df8a" providerId="AD" clId="Web-{D26C1C33-14CF-4CF4-B81E-B245C39BC4BF}" dt="2023-11-15T01:11:02.598" v="812" actId="20577"/>
        <pc:sldMkLst>
          <pc:docMk/>
          <pc:sldMk cId="2440270720" sldId="662"/>
        </pc:sldMkLst>
        <pc:spChg chg="add">
          <ac:chgData name="Roger Mais" userId="S::c0863147@mylambton.ca::6b6b0e9d-267a-4963-973d-c8b0db34df8a" providerId="AD" clId="Web-{D26C1C33-14CF-4CF4-B81E-B245C39BC4BF}" dt="2023-11-15T00:47:13.595" v="361"/>
          <ac:spMkLst>
            <pc:docMk/>
            <pc:sldMk cId="2440270720" sldId="662"/>
            <ac:spMk id="12" creationId="{DEAACDDB-BDD9-09F0-11D0-B0C5776BFA42}"/>
          </ac:spMkLst>
        </pc:spChg>
        <pc:spChg chg="add mod">
          <ac:chgData name="Roger Mais" userId="S::c0863147@mylambton.ca::6b6b0e9d-267a-4963-973d-c8b0db34df8a" providerId="AD" clId="Web-{D26C1C33-14CF-4CF4-B81E-B245C39BC4BF}" dt="2023-11-15T01:11:02.598" v="812" actId="20577"/>
          <ac:spMkLst>
            <pc:docMk/>
            <pc:sldMk cId="2440270720" sldId="662"/>
            <ac:spMk id="14" creationId="{6E840CFC-39B1-98F6-4497-54E9DFFB7DAC}"/>
          </ac:spMkLst>
        </pc:spChg>
        <pc:spChg chg="add mod">
          <ac:chgData name="Roger Mais" userId="S::c0863147@mylambton.ca::6b6b0e9d-267a-4963-973d-c8b0db34df8a" providerId="AD" clId="Web-{D26C1C33-14CF-4CF4-B81E-B245C39BC4BF}" dt="2023-11-15T01:10:48.644" v="796" actId="20577"/>
          <ac:spMkLst>
            <pc:docMk/>
            <pc:sldMk cId="2440270720" sldId="662"/>
            <ac:spMk id="16" creationId="{5E68E45D-6E74-98F5-EA55-F8FB88A5AC48}"/>
          </ac:spMkLst>
        </pc:spChg>
        <pc:spChg chg="add del">
          <ac:chgData name="Roger Mais" userId="S::c0863147@mylambton.ca::6b6b0e9d-267a-4963-973d-c8b0db34df8a" providerId="AD" clId="Web-{D26C1C33-14CF-4CF4-B81E-B245C39BC4BF}" dt="2023-11-15T00:47:55.049" v="382"/>
          <ac:spMkLst>
            <pc:docMk/>
            <pc:sldMk cId="2440270720" sldId="662"/>
            <ac:spMk id="18" creationId="{ADBC0C3A-4255-60F6-1025-1E18BBC119B2}"/>
          </ac:spMkLst>
        </pc:spChg>
        <pc:spChg chg="add del">
          <ac:chgData name="Roger Mais" userId="S::c0863147@mylambton.ca::6b6b0e9d-267a-4963-973d-c8b0db34df8a" providerId="AD" clId="Web-{D26C1C33-14CF-4CF4-B81E-B245C39BC4BF}" dt="2023-11-15T00:47:55.049" v="381"/>
          <ac:spMkLst>
            <pc:docMk/>
            <pc:sldMk cId="2440270720" sldId="662"/>
            <ac:spMk id="20" creationId="{EEC5692C-453E-64AC-B9FF-F8240987CE83}"/>
          </ac:spMkLst>
        </pc:spChg>
        <pc:spChg chg="add del">
          <ac:chgData name="Roger Mais" userId="S::c0863147@mylambton.ca::6b6b0e9d-267a-4963-973d-c8b0db34df8a" providerId="AD" clId="Web-{D26C1C33-14CF-4CF4-B81E-B245C39BC4BF}" dt="2023-11-15T00:47:55.049" v="380"/>
          <ac:spMkLst>
            <pc:docMk/>
            <pc:sldMk cId="2440270720" sldId="662"/>
            <ac:spMk id="22" creationId="{7D11409F-5E3F-F5C0-B730-029BB82002D5}"/>
          </ac:spMkLst>
        </pc:spChg>
        <pc:spChg chg="add del">
          <ac:chgData name="Roger Mais" userId="S::c0863147@mylambton.ca::6b6b0e9d-267a-4963-973d-c8b0db34df8a" providerId="AD" clId="Web-{D26C1C33-14CF-4CF4-B81E-B245C39BC4BF}" dt="2023-11-15T00:47:59.737" v="388"/>
          <ac:spMkLst>
            <pc:docMk/>
            <pc:sldMk cId="2440270720" sldId="662"/>
            <ac:spMk id="24" creationId="{44F789EC-CC7B-B5C8-9114-8A8B09E27065}"/>
          </ac:spMkLst>
        </pc:spChg>
        <pc:spChg chg="add del">
          <ac:chgData name="Roger Mais" userId="S::c0863147@mylambton.ca::6b6b0e9d-267a-4963-973d-c8b0db34df8a" providerId="AD" clId="Web-{D26C1C33-14CF-4CF4-B81E-B245C39BC4BF}" dt="2023-11-15T00:47:59.737" v="387"/>
          <ac:spMkLst>
            <pc:docMk/>
            <pc:sldMk cId="2440270720" sldId="662"/>
            <ac:spMk id="26" creationId="{13877EB3-66BA-1731-67E6-7DAC43E6C812}"/>
          </ac:spMkLst>
        </pc:spChg>
        <pc:spChg chg="add del">
          <ac:chgData name="Roger Mais" userId="S::c0863147@mylambton.ca::6b6b0e9d-267a-4963-973d-c8b0db34df8a" providerId="AD" clId="Web-{D26C1C33-14CF-4CF4-B81E-B245C39BC4BF}" dt="2023-11-15T00:47:59.737" v="386"/>
          <ac:spMkLst>
            <pc:docMk/>
            <pc:sldMk cId="2440270720" sldId="662"/>
            <ac:spMk id="28" creationId="{9D407819-1222-17F1-6FF1-06B6CA7AEBF5}"/>
          </ac:spMkLst>
        </pc:spChg>
        <pc:spChg chg="add del">
          <ac:chgData name="Roger Mais" userId="S::c0863147@mylambton.ca::6b6b0e9d-267a-4963-973d-c8b0db34df8a" providerId="AD" clId="Web-{D26C1C33-14CF-4CF4-B81E-B245C39BC4BF}" dt="2023-11-15T00:48:20.049" v="393"/>
          <ac:spMkLst>
            <pc:docMk/>
            <pc:sldMk cId="2440270720" sldId="662"/>
            <ac:spMk id="29" creationId="{F531DA75-DFC1-B3B4-BF7F-DFD72A852123}"/>
          </ac:spMkLst>
        </pc:spChg>
        <pc:spChg chg="add mod">
          <ac:chgData name="Roger Mais" userId="S::c0863147@mylambton.ca::6b6b0e9d-267a-4963-973d-c8b0db34df8a" providerId="AD" clId="Web-{D26C1C33-14CF-4CF4-B81E-B245C39BC4BF}" dt="2023-11-15T01:05:07.046" v="493" actId="1076"/>
          <ac:spMkLst>
            <pc:docMk/>
            <pc:sldMk cId="2440270720" sldId="662"/>
            <ac:spMk id="30" creationId="{D656C1D2-3652-2149-4C19-244212193F57}"/>
          </ac:spMkLst>
        </pc:spChg>
        <pc:spChg chg="add del">
          <ac:chgData name="Roger Mais" userId="S::c0863147@mylambton.ca::6b6b0e9d-267a-4963-973d-c8b0db34df8a" providerId="AD" clId="Web-{D26C1C33-14CF-4CF4-B81E-B245C39BC4BF}" dt="2023-11-15T00:48:37.237" v="426"/>
          <ac:spMkLst>
            <pc:docMk/>
            <pc:sldMk cId="2440270720" sldId="662"/>
            <ac:spMk id="31" creationId="{A65F76CD-321F-A890-34E2-1414DA55F134}"/>
          </ac:spMkLst>
        </pc:spChg>
        <pc:picChg chg="add mod">
          <ac:chgData name="Roger Mais" userId="S::c0863147@mylambton.ca::6b6b0e9d-267a-4963-973d-c8b0db34df8a" providerId="AD" clId="Web-{D26C1C33-14CF-4CF4-B81E-B245C39BC4BF}" dt="2023-11-15T00:28:43.673" v="40" actId="1076"/>
          <ac:picMkLst>
            <pc:docMk/>
            <pc:sldMk cId="2440270720" sldId="662"/>
            <ac:picMk id="3" creationId="{6167BDF9-AFE4-09BD-8EC5-D8437CB56AC9}"/>
          </ac:picMkLst>
        </pc:picChg>
        <pc:picChg chg="add del mod">
          <ac:chgData name="Roger Mais" userId="S::c0863147@mylambton.ca::6b6b0e9d-267a-4963-973d-c8b0db34df8a" providerId="AD" clId="Web-{D26C1C33-14CF-4CF4-B81E-B245C39BC4BF}" dt="2023-11-15T00:42:38.217" v="162"/>
          <ac:picMkLst>
            <pc:docMk/>
            <pc:sldMk cId="2440270720" sldId="662"/>
            <ac:picMk id="4" creationId="{F1E1B71E-4EC4-A820-9701-42487D89CA6C}"/>
          </ac:picMkLst>
        </pc:picChg>
        <pc:picChg chg="add del mod">
          <ac:chgData name="Roger Mais" userId="S::c0863147@mylambton.ca::6b6b0e9d-267a-4963-973d-c8b0db34df8a" providerId="AD" clId="Web-{D26C1C33-14CF-4CF4-B81E-B245C39BC4BF}" dt="2023-11-15T00:42:37.701" v="161"/>
          <ac:picMkLst>
            <pc:docMk/>
            <pc:sldMk cId="2440270720" sldId="662"/>
            <ac:picMk id="5" creationId="{EEDF0AC7-13A4-F393-1F5E-D49FFECC96B1}"/>
          </ac:picMkLst>
        </pc:picChg>
        <pc:picChg chg="add mod">
          <ac:chgData name="Roger Mais" userId="S::c0863147@mylambton.ca::6b6b0e9d-267a-4963-973d-c8b0db34df8a" providerId="AD" clId="Web-{D26C1C33-14CF-4CF4-B81E-B245C39BC4BF}" dt="2023-11-15T00:28:41.033" v="39" actId="1076"/>
          <ac:picMkLst>
            <pc:docMk/>
            <pc:sldMk cId="2440270720" sldId="662"/>
            <ac:picMk id="6" creationId="{A4BF0A16-0284-2663-49F1-9D1AC40C533A}"/>
          </ac:picMkLst>
        </pc:picChg>
        <pc:picChg chg="add mod">
          <ac:chgData name="Roger Mais" userId="S::c0863147@mylambton.ca::6b6b0e9d-267a-4963-973d-c8b0db34df8a" providerId="AD" clId="Web-{D26C1C33-14CF-4CF4-B81E-B245C39BC4BF}" dt="2023-11-15T00:28:39.517" v="38" actId="1076"/>
          <ac:picMkLst>
            <pc:docMk/>
            <pc:sldMk cId="2440270720" sldId="662"/>
            <ac:picMk id="7" creationId="{5D0A5316-FCD4-0CBC-92F4-8369A62F73B4}"/>
          </ac:picMkLst>
        </pc:picChg>
        <pc:picChg chg="add mod">
          <ac:chgData name="Roger Mais" userId="S::c0863147@mylambton.ca::6b6b0e9d-267a-4963-973d-c8b0db34df8a" providerId="AD" clId="Web-{D26C1C33-14CF-4CF4-B81E-B245C39BC4BF}" dt="2023-11-15T00:28:37.564" v="37" actId="1076"/>
          <ac:picMkLst>
            <pc:docMk/>
            <pc:sldMk cId="2440270720" sldId="662"/>
            <ac:picMk id="8" creationId="{0766A6AD-0CAE-1B03-EE47-004915CEC971}"/>
          </ac:picMkLst>
        </pc:picChg>
        <pc:picChg chg="add mod">
          <ac:chgData name="Roger Mais" userId="S::c0863147@mylambton.ca::6b6b0e9d-267a-4963-973d-c8b0db34df8a" providerId="AD" clId="Web-{D26C1C33-14CF-4CF4-B81E-B245C39BC4BF}" dt="2023-11-15T00:28:45.642" v="41" actId="1076"/>
          <ac:picMkLst>
            <pc:docMk/>
            <pc:sldMk cId="2440270720" sldId="662"/>
            <ac:picMk id="9" creationId="{41AF150A-6530-384A-9DA5-ED40A9F44832}"/>
          </ac:picMkLst>
        </pc:picChg>
        <pc:picChg chg="add mod">
          <ac:chgData name="Roger Mais" userId="S::c0863147@mylambton.ca::6b6b0e9d-267a-4963-973d-c8b0db34df8a" providerId="AD" clId="Web-{D26C1C33-14CF-4CF4-B81E-B245C39BC4BF}" dt="2023-11-15T00:31:33.316" v="43" actId="1076"/>
          <ac:picMkLst>
            <pc:docMk/>
            <pc:sldMk cId="2440270720" sldId="662"/>
            <ac:picMk id="10" creationId="{36B7AFF8-907D-6EDB-09AC-3DF8239C4620}"/>
          </ac:picMkLst>
        </pc:picChg>
        <pc:picChg chg="add del mod">
          <ac:chgData name="Roger Mais" userId="S::c0863147@mylambton.ca::6b6b0e9d-267a-4963-973d-c8b0db34df8a" providerId="AD" clId="Web-{D26C1C33-14CF-4CF4-B81E-B245C39BC4BF}" dt="2023-11-15T01:05:50.953" v="505"/>
          <ac:picMkLst>
            <pc:docMk/>
            <pc:sldMk cId="2440270720" sldId="662"/>
            <ac:picMk id="33" creationId="{BB4EFB54-2084-DE1D-FB74-674030D55B20}"/>
          </ac:picMkLst>
        </pc:picChg>
        <pc:picChg chg="add del mod">
          <ac:chgData name="Roger Mais" userId="S::c0863147@mylambton.ca::6b6b0e9d-267a-4963-973d-c8b0db34df8a" providerId="AD" clId="Web-{D26C1C33-14CF-4CF4-B81E-B245C39BC4BF}" dt="2023-11-15T01:05:50.953" v="504"/>
          <ac:picMkLst>
            <pc:docMk/>
            <pc:sldMk cId="2440270720" sldId="662"/>
            <ac:picMk id="35" creationId="{7056687E-0E16-E6CA-28A0-4D52143401DC}"/>
          </ac:picMkLst>
        </pc:picChg>
      </pc:sldChg>
      <pc:sldChg chg="addSp delSp modSp new ord">
        <pc:chgData name="Roger Mais" userId="S::c0863147@mylambton.ca::6b6b0e9d-267a-4963-973d-c8b0db34df8a" providerId="AD" clId="Web-{D26C1C33-14CF-4CF4-B81E-B245C39BC4BF}" dt="2023-11-15T01:12:03.739" v="1021" actId="1076"/>
        <pc:sldMkLst>
          <pc:docMk/>
          <pc:sldMk cId="2631071951" sldId="663"/>
        </pc:sldMkLst>
        <pc:spChg chg="add mod">
          <ac:chgData name="Roger Mais" userId="S::c0863147@mylambton.ca::6b6b0e9d-267a-4963-973d-c8b0db34df8a" providerId="AD" clId="Web-{D26C1C33-14CF-4CF4-B81E-B245C39BC4BF}" dt="2023-11-15T00:43:01.467" v="166" actId="1076"/>
          <ac:spMkLst>
            <pc:docMk/>
            <pc:sldMk cId="2631071951" sldId="663"/>
            <ac:spMk id="14" creationId="{CC18FE1E-6562-DD4D-1944-99C6DD34BEEF}"/>
          </ac:spMkLst>
        </pc:spChg>
        <pc:spChg chg="add mod">
          <ac:chgData name="Roger Mais" userId="S::c0863147@mylambton.ca::6b6b0e9d-267a-4963-973d-c8b0db34df8a" providerId="AD" clId="Web-{D26C1C33-14CF-4CF4-B81E-B245C39BC4BF}" dt="2023-11-15T00:45:01.047" v="345" actId="20577"/>
          <ac:spMkLst>
            <pc:docMk/>
            <pc:sldMk cId="2631071951" sldId="663"/>
            <ac:spMk id="15" creationId="{50A70C61-4442-570D-B179-CA5FF508D8A4}"/>
          </ac:spMkLst>
        </pc:spChg>
        <pc:spChg chg="add del mod">
          <ac:chgData name="Roger Mais" userId="S::c0863147@mylambton.ca::6b6b0e9d-267a-4963-973d-c8b0db34df8a" providerId="AD" clId="Web-{D26C1C33-14CF-4CF4-B81E-B245C39BC4BF}" dt="2023-11-15T00:44:42.843" v="308"/>
          <ac:spMkLst>
            <pc:docMk/>
            <pc:sldMk cId="2631071951" sldId="663"/>
            <ac:spMk id="16" creationId="{F6C52914-6792-4987-AF0C-DDD67AD00DD8}"/>
          </ac:spMkLst>
        </pc:spChg>
        <pc:spChg chg="add del">
          <ac:chgData name="Roger Mais" userId="S::c0863147@mylambton.ca::6b6b0e9d-267a-4963-973d-c8b0db34df8a" providerId="AD" clId="Web-{D26C1C33-14CF-4CF4-B81E-B245C39BC4BF}" dt="2023-11-15T00:44:39.125" v="305"/>
          <ac:spMkLst>
            <pc:docMk/>
            <pc:sldMk cId="2631071951" sldId="663"/>
            <ac:spMk id="17" creationId="{2E80CA63-86B1-711F-195E-F671C528FE31}"/>
          </ac:spMkLst>
        </pc:spChg>
        <pc:spChg chg="add del">
          <ac:chgData name="Roger Mais" userId="S::c0863147@mylambton.ca::6b6b0e9d-267a-4963-973d-c8b0db34df8a" providerId="AD" clId="Web-{D26C1C33-14CF-4CF4-B81E-B245C39BC4BF}" dt="2023-11-15T00:44:37.750" v="304"/>
          <ac:spMkLst>
            <pc:docMk/>
            <pc:sldMk cId="2631071951" sldId="663"/>
            <ac:spMk id="18" creationId="{69990569-017D-B354-E0BB-826DCD316EEF}"/>
          </ac:spMkLst>
        </pc:spChg>
        <pc:spChg chg="add mod">
          <ac:chgData name="Roger Mais" userId="S::c0863147@mylambton.ca::6b6b0e9d-267a-4963-973d-c8b0db34df8a" providerId="AD" clId="Web-{D26C1C33-14CF-4CF4-B81E-B245C39BC4BF}" dt="2023-11-15T01:12:01.192" v="1020" actId="1076"/>
          <ac:spMkLst>
            <pc:docMk/>
            <pc:sldMk cId="2631071951" sldId="663"/>
            <ac:spMk id="19" creationId="{C7731321-117E-F10B-DA9F-53C239405A32}"/>
          </ac:spMkLst>
        </pc:spChg>
        <pc:spChg chg="add mod">
          <ac:chgData name="Roger Mais" userId="S::c0863147@mylambton.ca::6b6b0e9d-267a-4963-973d-c8b0db34df8a" providerId="AD" clId="Web-{D26C1C33-14CF-4CF4-B81E-B245C39BC4BF}" dt="2023-11-15T01:12:03.739" v="1021" actId="1076"/>
          <ac:spMkLst>
            <pc:docMk/>
            <pc:sldMk cId="2631071951" sldId="663"/>
            <ac:spMk id="20" creationId="{656433DD-C3F7-0AE5-6C2A-270492655F35}"/>
          </ac:spMkLst>
        </pc:spChg>
        <pc:picChg chg="add mod">
          <ac:chgData name="Roger Mais" userId="S::c0863147@mylambton.ca::6b6b0e9d-267a-4963-973d-c8b0db34df8a" providerId="AD" clId="Web-{D26C1C33-14CF-4CF4-B81E-B245C39BC4BF}" dt="2023-11-15T00:36:40.884" v="55" actId="1076"/>
          <ac:picMkLst>
            <pc:docMk/>
            <pc:sldMk cId="2631071951" sldId="663"/>
            <ac:picMk id="3" creationId="{A9EAA27E-01A7-AC2A-C13E-43934EA37809}"/>
          </ac:picMkLst>
        </pc:picChg>
        <pc:picChg chg="add mod">
          <ac:chgData name="Roger Mais" userId="S::c0863147@mylambton.ca::6b6b0e9d-267a-4963-973d-c8b0db34df8a" providerId="AD" clId="Web-{D26C1C33-14CF-4CF4-B81E-B245C39BC4BF}" dt="2023-11-15T00:36:42.025" v="56" actId="1076"/>
          <ac:picMkLst>
            <pc:docMk/>
            <pc:sldMk cId="2631071951" sldId="663"/>
            <ac:picMk id="4" creationId="{127340BA-D378-92BE-8608-B0ACB5636897}"/>
          </ac:picMkLst>
        </pc:picChg>
        <pc:picChg chg="add mod">
          <ac:chgData name="Roger Mais" userId="S::c0863147@mylambton.ca::6b6b0e9d-267a-4963-973d-c8b0db34df8a" providerId="AD" clId="Web-{D26C1C33-14CF-4CF4-B81E-B245C39BC4BF}" dt="2023-11-15T01:04:36.015" v="489" actId="1076"/>
          <ac:picMkLst>
            <pc:docMk/>
            <pc:sldMk cId="2631071951" sldId="663"/>
            <ac:picMk id="5" creationId="{9FF51EAE-D29F-780A-0F8A-88744D506AFB}"/>
          </ac:picMkLst>
        </pc:picChg>
        <pc:picChg chg="add mod">
          <ac:chgData name="Roger Mais" userId="S::c0863147@mylambton.ca::6b6b0e9d-267a-4963-973d-c8b0db34df8a" providerId="AD" clId="Web-{D26C1C33-14CF-4CF4-B81E-B245C39BC4BF}" dt="2023-11-15T00:36:44.259" v="58" actId="1076"/>
          <ac:picMkLst>
            <pc:docMk/>
            <pc:sldMk cId="2631071951" sldId="663"/>
            <ac:picMk id="6" creationId="{12047494-C4D5-DF73-D85A-9EBC8C049455}"/>
          </ac:picMkLst>
        </pc:picChg>
        <pc:picChg chg="add mod">
          <ac:chgData name="Roger Mais" userId="S::c0863147@mylambton.ca::6b6b0e9d-267a-4963-973d-c8b0db34df8a" providerId="AD" clId="Web-{D26C1C33-14CF-4CF4-B81E-B245C39BC4BF}" dt="2023-11-15T01:04:41.015" v="490" actId="1076"/>
          <ac:picMkLst>
            <pc:docMk/>
            <pc:sldMk cId="2631071951" sldId="663"/>
            <ac:picMk id="7" creationId="{DEA8BE89-C2C8-EEC0-A704-E154DBF55294}"/>
          </ac:picMkLst>
        </pc:picChg>
        <pc:picChg chg="add mod">
          <ac:chgData name="Roger Mais" userId="S::c0863147@mylambton.ca::6b6b0e9d-267a-4963-973d-c8b0db34df8a" providerId="AD" clId="Web-{D26C1C33-14CF-4CF4-B81E-B245C39BC4BF}" dt="2023-11-15T01:04:43.984" v="491" actId="1076"/>
          <ac:picMkLst>
            <pc:docMk/>
            <pc:sldMk cId="2631071951" sldId="663"/>
            <ac:picMk id="8" creationId="{5685396D-966E-1376-9141-8340797817CF}"/>
          </ac:picMkLst>
        </pc:picChg>
        <pc:picChg chg="add del mod">
          <ac:chgData name="Roger Mais" userId="S::c0863147@mylambton.ca::6b6b0e9d-267a-4963-973d-c8b0db34df8a" providerId="AD" clId="Web-{D26C1C33-14CF-4CF4-B81E-B245C39BC4BF}" dt="2023-11-15T00:37:27.354" v="68"/>
          <ac:picMkLst>
            <pc:docMk/>
            <pc:sldMk cId="2631071951" sldId="663"/>
            <ac:picMk id="10" creationId="{1E493C94-B674-1053-3F85-C30D4CF21F31}"/>
          </ac:picMkLst>
        </pc:picChg>
        <pc:picChg chg="add del mod">
          <ac:chgData name="Roger Mais" userId="S::c0863147@mylambton.ca::6b6b0e9d-267a-4963-973d-c8b0db34df8a" providerId="AD" clId="Web-{D26C1C33-14CF-4CF4-B81E-B245C39BC4BF}" dt="2023-11-15T00:37:27.354" v="67"/>
          <ac:picMkLst>
            <pc:docMk/>
            <pc:sldMk cId="2631071951" sldId="663"/>
            <ac:picMk id="12" creationId="{CCF092CE-3260-B2C6-ED70-27C25EDD3433}"/>
          </ac:picMkLst>
        </pc:picChg>
      </pc:sldChg>
      <pc:sldChg chg="addSp delSp modSp new del">
        <pc:chgData name="Roger Mais" userId="S::c0863147@mylambton.ca::6b6b0e9d-267a-4963-973d-c8b0db34df8a" providerId="AD" clId="Web-{D26C1C33-14CF-4CF4-B81E-B245C39BC4BF}" dt="2023-11-15T01:07:38.626" v="593"/>
        <pc:sldMkLst>
          <pc:docMk/>
          <pc:sldMk cId="2236171292" sldId="664"/>
        </pc:sldMkLst>
        <pc:spChg chg="add mod">
          <ac:chgData name="Roger Mais" userId="S::c0863147@mylambton.ca::6b6b0e9d-267a-4963-973d-c8b0db34df8a" providerId="AD" clId="Web-{D26C1C33-14CF-4CF4-B81E-B245C39BC4BF}" dt="2023-11-15T01:07:06.376" v="591" actId="1076"/>
          <ac:spMkLst>
            <pc:docMk/>
            <pc:sldMk cId="2236171292" sldId="664"/>
            <ac:spMk id="7" creationId="{654B7882-A80E-656F-8C31-910BB6448D09}"/>
          </ac:spMkLst>
        </pc:spChg>
        <pc:spChg chg="add mod">
          <ac:chgData name="Roger Mais" userId="S::c0863147@mylambton.ca::6b6b0e9d-267a-4963-973d-c8b0db34df8a" providerId="AD" clId="Web-{D26C1C33-14CF-4CF4-B81E-B245C39BC4BF}" dt="2023-11-15T01:07:08.548" v="592" actId="1076"/>
          <ac:spMkLst>
            <pc:docMk/>
            <pc:sldMk cId="2236171292" sldId="664"/>
            <ac:spMk id="8" creationId="{1C2D6F86-ADA8-290C-7E71-187F5DE72376}"/>
          </ac:spMkLst>
        </pc:spChg>
        <pc:spChg chg="add mod">
          <ac:chgData name="Roger Mais" userId="S::c0863147@mylambton.ca::6b6b0e9d-267a-4963-973d-c8b0db34df8a" providerId="AD" clId="Web-{D26C1C33-14CF-4CF4-B81E-B245C39BC4BF}" dt="2023-11-15T00:40:22.262" v="146" actId="20577"/>
          <ac:spMkLst>
            <pc:docMk/>
            <pc:sldMk cId="2236171292" sldId="664"/>
            <ac:spMk id="9" creationId="{8B6B3D72-4C80-4BEE-2398-EF386F9BEB27}"/>
          </ac:spMkLst>
        </pc:spChg>
        <pc:spChg chg="add del">
          <ac:chgData name="Roger Mais" userId="S::c0863147@mylambton.ca::6b6b0e9d-267a-4963-973d-c8b0db34df8a" providerId="AD" clId="Web-{D26C1C33-14CF-4CF4-B81E-B245C39BC4BF}" dt="2023-11-15T00:42:03.920" v="159"/>
          <ac:spMkLst>
            <pc:docMk/>
            <pc:sldMk cId="2236171292" sldId="664"/>
            <ac:spMk id="10" creationId="{B16E6144-D23D-16B2-D79B-9B057331407A}"/>
          </ac:spMkLst>
        </pc:spChg>
        <pc:spChg chg="add mod">
          <ac:chgData name="Roger Mais" userId="S::c0863147@mylambton.ca::6b6b0e9d-267a-4963-973d-c8b0db34df8a" providerId="AD" clId="Web-{D26C1C33-14CF-4CF4-B81E-B245C39BC4BF}" dt="2023-11-15T00:40:42.590" v="154" actId="20577"/>
          <ac:spMkLst>
            <pc:docMk/>
            <pc:sldMk cId="2236171292" sldId="664"/>
            <ac:spMk id="11" creationId="{79C21A8D-EE3C-24B3-5507-197E96362E88}"/>
          </ac:spMkLst>
        </pc:spChg>
        <pc:picChg chg="add del mod">
          <ac:chgData name="Roger Mais" userId="S::c0863147@mylambton.ca::6b6b0e9d-267a-4963-973d-c8b0db34df8a" providerId="AD" clId="Web-{D26C1C33-14CF-4CF4-B81E-B245C39BC4BF}" dt="2023-11-15T00:41:47.857" v="155"/>
          <ac:picMkLst>
            <pc:docMk/>
            <pc:sldMk cId="2236171292" sldId="664"/>
            <ac:picMk id="4" creationId="{996B4156-CF53-607B-BE9A-DE804F9979F7}"/>
          </ac:picMkLst>
        </pc:picChg>
        <pc:picChg chg="add mod">
          <ac:chgData name="Roger Mais" userId="S::c0863147@mylambton.ca::6b6b0e9d-267a-4963-973d-c8b0db34df8a" providerId="AD" clId="Web-{D26C1C33-14CF-4CF4-B81E-B245C39BC4BF}" dt="2023-11-15T00:39:27.199" v="94" actId="1076"/>
          <ac:picMkLst>
            <pc:docMk/>
            <pc:sldMk cId="2236171292" sldId="664"/>
            <ac:picMk id="6" creationId="{8B8271C8-63BC-3BCE-88E8-EEA225BE4E40}"/>
          </ac:picMkLst>
        </pc:picChg>
        <pc:picChg chg="add mod">
          <ac:chgData name="Roger Mais" userId="S::c0863147@mylambton.ca::6b6b0e9d-267a-4963-973d-c8b0db34df8a" providerId="AD" clId="Web-{D26C1C33-14CF-4CF4-B81E-B245C39BC4BF}" dt="2023-11-15T00:41:50.919" v="157" actId="1076"/>
          <ac:picMkLst>
            <pc:docMk/>
            <pc:sldMk cId="2236171292" sldId="664"/>
            <ac:picMk id="13" creationId="{AF995623-5ACB-4D52-2FFB-876BABEBF970}"/>
          </ac:picMkLst>
        </pc:picChg>
      </pc:sldChg>
      <pc:sldChg chg="addSp delSp modSp new ord">
        <pc:chgData name="Roger Mais" userId="S::c0863147@mylambton.ca::6b6b0e9d-267a-4963-973d-c8b0db34df8a" providerId="AD" clId="Web-{D26C1C33-14CF-4CF4-B81E-B245C39BC4BF}" dt="2023-11-15T01:27:09.172" v="1359" actId="20577"/>
        <pc:sldMkLst>
          <pc:docMk/>
          <pc:sldMk cId="1699252185" sldId="665"/>
        </pc:sldMkLst>
        <pc:spChg chg="add mod">
          <ac:chgData name="Roger Mais" userId="S::c0863147@mylambton.ca::6b6b0e9d-267a-4963-973d-c8b0db34df8a" providerId="AD" clId="Web-{D26C1C33-14CF-4CF4-B81E-B245C39BC4BF}" dt="2023-11-15T01:25:58.124" v="1312" actId="1076"/>
          <ac:spMkLst>
            <pc:docMk/>
            <pc:sldMk cId="1699252185" sldId="665"/>
            <ac:spMk id="5" creationId="{29C80825-857F-F326-ABB1-1796A8EFED3F}"/>
          </ac:spMkLst>
        </pc:spChg>
        <pc:spChg chg="add mod">
          <ac:chgData name="Roger Mais" userId="S::c0863147@mylambton.ca::6b6b0e9d-267a-4963-973d-c8b0db34df8a" providerId="AD" clId="Web-{D26C1C33-14CF-4CF4-B81E-B245C39BC4BF}" dt="2023-11-15T01:26:00.562" v="1313" actId="1076"/>
          <ac:spMkLst>
            <pc:docMk/>
            <pc:sldMk cId="1699252185" sldId="665"/>
            <ac:spMk id="6" creationId="{5922189E-C8C1-0ABF-7D6F-F9E5BE0035E4}"/>
          </ac:spMkLst>
        </pc:spChg>
        <pc:spChg chg="add mod">
          <ac:chgData name="Roger Mais" userId="S::c0863147@mylambton.ca::6b6b0e9d-267a-4963-973d-c8b0db34df8a" providerId="AD" clId="Web-{D26C1C33-14CF-4CF4-B81E-B245C39BC4BF}" dt="2023-11-15T01:26:02.437" v="1314" actId="1076"/>
          <ac:spMkLst>
            <pc:docMk/>
            <pc:sldMk cId="1699252185" sldId="665"/>
            <ac:spMk id="7" creationId="{A5D8350A-25A2-4C43-5BB5-A21FD26B274F}"/>
          </ac:spMkLst>
        </pc:spChg>
        <pc:spChg chg="add mod">
          <ac:chgData name="Roger Mais" userId="S::c0863147@mylambton.ca::6b6b0e9d-267a-4963-973d-c8b0db34df8a" providerId="AD" clId="Web-{D26C1C33-14CF-4CF4-B81E-B245C39BC4BF}" dt="2023-11-15T01:27:09.172" v="1359" actId="20577"/>
          <ac:spMkLst>
            <pc:docMk/>
            <pc:sldMk cId="1699252185" sldId="665"/>
            <ac:spMk id="8" creationId="{07089C6C-BAE0-D4E3-E394-061AFFC3C8D6}"/>
          </ac:spMkLst>
        </pc:spChg>
        <pc:picChg chg="add del mod">
          <ac:chgData name="Roger Mais" userId="S::c0863147@mylambton.ca::6b6b0e9d-267a-4963-973d-c8b0db34df8a" providerId="AD" clId="Web-{D26C1C33-14CF-4CF4-B81E-B245C39BC4BF}" dt="2023-11-15T00:50:12.926" v="453"/>
          <ac:picMkLst>
            <pc:docMk/>
            <pc:sldMk cId="1699252185" sldId="665"/>
            <ac:picMk id="3" creationId="{F79BFAB6-DD33-70F4-3489-2A7376F8544E}"/>
          </ac:picMkLst>
        </pc:picChg>
        <pc:picChg chg="add mod modCrop">
          <ac:chgData name="Roger Mais" userId="S::c0863147@mylambton.ca::6b6b0e9d-267a-4963-973d-c8b0db34df8a" providerId="AD" clId="Web-{D26C1C33-14CF-4CF4-B81E-B245C39BC4BF}" dt="2023-11-15T01:14:13.334" v="1184" actId="1076"/>
          <ac:picMkLst>
            <pc:docMk/>
            <pc:sldMk cId="1699252185" sldId="665"/>
            <ac:picMk id="4" creationId="{EF58319D-CE46-DB7E-118E-5FD4E4A18C83}"/>
          </ac:picMkLst>
        </pc:picChg>
      </pc:sldChg>
    </pc:docChg>
  </pc:docChgLst>
  <pc:docChgLst>
    <pc:chgData name="Auradee Castro" userId="5b47d84d-e816-421d-a9bd-ea845bdedce9" providerId="ADAL" clId="{550C1106-BC84-4108-9D85-E56BA601B369}"/>
    <pc:docChg chg="undo redo custSel delSld modSld">
      <pc:chgData name="Auradee Castro" userId="5b47d84d-e816-421d-a9bd-ea845bdedce9" providerId="ADAL" clId="{550C1106-BC84-4108-9D85-E56BA601B369}" dt="2023-11-15T04:19:17.870" v="3447" actId="207"/>
      <pc:docMkLst>
        <pc:docMk/>
      </pc:docMkLst>
      <pc:sldChg chg="modSp mod">
        <pc:chgData name="Auradee Castro" userId="5b47d84d-e816-421d-a9bd-ea845bdedce9" providerId="ADAL" clId="{550C1106-BC84-4108-9D85-E56BA601B369}" dt="2023-11-14T04:43:42.850" v="1178" actId="6549"/>
        <pc:sldMkLst>
          <pc:docMk/>
          <pc:sldMk cId="1262739640" sldId="621"/>
        </pc:sldMkLst>
        <pc:spChg chg="mod">
          <ac:chgData name="Auradee Castro" userId="5b47d84d-e816-421d-a9bd-ea845bdedce9" providerId="ADAL" clId="{550C1106-BC84-4108-9D85-E56BA601B369}" dt="2023-11-14T04:43:42.850" v="1178" actId="6549"/>
          <ac:spMkLst>
            <pc:docMk/>
            <pc:sldMk cId="1262739640" sldId="621"/>
            <ac:spMk id="5" creationId="{8C2A81C2-CB9D-5E0D-1B45-AC1250F47E64}"/>
          </ac:spMkLst>
        </pc:spChg>
      </pc:sldChg>
      <pc:sldChg chg="modSp mod">
        <pc:chgData name="Auradee Castro" userId="5b47d84d-e816-421d-a9bd-ea845bdedce9" providerId="ADAL" clId="{550C1106-BC84-4108-9D85-E56BA601B369}" dt="2023-11-14T04:56:44.240" v="1310" actId="1035"/>
        <pc:sldMkLst>
          <pc:docMk/>
          <pc:sldMk cId="2705744719" sldId="622"/>
        </pc:sldMkLst>
        <pc:spChg chg="mod">
          <ac:chgData name="Auradee Castro" userId="5b47d84d-e816-421d-a9bd-ea845bdedce9" providerId="ADAL" clId="{550C1106-BC84-4108-9D85-E56BA601B369}" dt="2023-11-14T04:56:37.732" v="1300" actId="14100"/>
          <ac:spMkLst>
            <pc:docMk/>
            <pc:sldMk cId="2705744719" sldId="622"/>
            <ac:spMk id="3" creationId="{D9C9ACA2-A3AE-D6EF-CC33-B149455093C7}"/>
          </ac:spMkLst>
        </pc:spChg>
        <pc:spChg chg="mod">
          <ac:chgData name="Auradee Castro" userId="5b47d84d-e816-421d-a9bd-ea845bdedce9" providerId="ADAL" clId="{550C1106-BC84-4108-9D85-E56BA601B369}" dt="2023-11-14T04:56:29.522" v="1285" actId="1035"/>
          <ac:spMkLst>
            <pc:docMk/>
            <pc:sldMk cId="2705744719" sldId="622"/>
            <ac:spMk id="7" creationId="{A29DD16F-C434-F01B-B19D-AAD93C5C2D57}"/>
          </ac:spMkLst>
        </pc:spChg>
        <pc:spChg chg="mod">
          <ac:chgData name="Auradee Castro" userId="5b47d84d-e816-421d-a9bd-ea845bdedce9" providerId="ADAL" clId="{550C1106-BC84-4108-9D85-E56BA601B369}" dt="2023-11-14T04:56:44.240" v="1310" actId="1035"/>
          <ac:spMkLst>
            <pc:docMk/>
            <pc:sldMk cId="2705744719" sldId="622"/>
            <ac:spMk id="12" creationId="{04D82B57-FC93-F808-D711-41D7C57716AB}"/>
          </ac:spMkLst>
        </pc:spChg>
      </pc:sldChg>
      <pc:sldChg chg="addSp delSp modSp mod">
        <pc:chgData name="Auradee Castro" userId="5b47d84d-e816-421d-a9bd-ea845bdedce9" providerId="ADAL" clId="{550C1106-BC84-4108-9D85-E56BA601B369}" dt="2023-11-14T05:53:30.778" v="2632" actId="14100"/>
        <pc:sldMkLst>
          <pc:docMk/>
          <pc:sldMk cId="2290778968" sldId="642"/>
        </pc:sldMkLst>
        <pc:spChg chg="mod">
          <ac:chgData name="Auradee Castro" userId="5b47d84d-e816-421d-a9bd-ea845bdedce9" providerId="ADAL" clId="{550C1106-BC84-4108-9D85-E56BA601B369}" dt="2023-11-14T05:00:02.902" v="1368" actId="20577"/>
          <ac:spMkLst>
            <pc:docMk/>
            <pc:sldMk cId="2290778968" sldId="642"/>
            <ac:spMk id="2" creationId="{2BD9482C-9809-78C2-DBBB-630F5596988E}"/>
          </ac:spMkLst>
        </pc:spChg>
        <pc:spChg chg="mod">
          <ac:chgData name="Auradee Castro" userId="5b47d84d-e816-421d-a9bd-ea845bdedce9" providerId="ADAL" clId="{550C1106-BC84-4108-9D85-E56BA601B369}" dt="2023-11-14T05:35:11.051" v="2628"/>
          <ac:spMkLst>
            <pc:docMk/>
            <pc:sldMk cId="2290778968" sldId="642"/>
            <ac:spMk id="3" creationId="{B86EE26B-A320-1117-C533-672582AFE7DA}"/>
          </ac:spMkLst>
        </pc:spChg>
        <pc:spChg chg="add mod">
          <ac:chgData name="Auradee Castro" userId="5b47d84d-e816-421d-a9bd-ea845bdedce9" providerId="ADAL" clId="{550C1106-BC84-4108-9D85-E56BA601B369}" dt="2023-11-14T03:54:44.740" v="301" actId="207"/>
          <ac:spMkLst>
            <pc:docMk/>
            <pc:sldMk cId="2290778968" sldId="642"/>
            <ac:spMk id="7" creationId="{868E8753-BB09-C997-CCF4-A106332D558A}"/>
          </ac:spMkLst>
        </pc:spChg>
        <pc:spChg chg="add del mod">
          <ac:chgData name="Auradee Castro" userId="5b47d84d-e816-421d-a9bd-ea845bdedce9" providerId="ADAL" clId="{550C1106-BC84-4108-9D85-E56BA601B369}" dt="2023-11-14T03:54:16.275" v="290"/>
          <ac:spMkLst>
            <pc:docMk/>
            <pc:sldMk cId="2290778968" sldId="642"/>
            <ac:spMk id="8" creationId="{BFCA6737-7CCF-6A84-ECE7-0B26A1389F23}"/>
          </ac:spMkLst>
        </pc:spChg>
        <pc:picChg chg="del">
          <ac:chgData name="Auradee Castro" userId="5b47d84d-e816-421d-a9bd-ea845bdedce9" providerId="ADAL" clId="{550C1106-BC84-4108-9D85-E56BA601B369}" dt="2023-11-14T02:24:22.413" v="0" actId="478"/>
          <ac:picMkLst>
            <pc:docMk/>
            <pc:sldMk cId="2290778968" sldId="642"/>
            <ac:picMk id="5" creationId="{9DF7CA7B-042B-79E8-E747-C85186F91046}"/>
          </ac:picMkLst>
        </pc:picChg>
        <pc:picChg chg="add mod">
          <ac:chgData name="Auradee Castro" userId="5b47d84d-e816-421d-a9bd-ea845bdedce9" providerId="ADAL" clId="{550C1106-BC84-4108-9D85-E56BA601B369}" dt="2023-11-14T05:53:30.778" v="2632" actId="14100"/>
          <ac:picMkLst>
            <pc:docMk/>
            <pc:sldMk cId="2290778968" sldId="642"/>
            <ac:picMk id="6" creationId="{FAAC4516-0E79-E2FE-BFDF-E98A9B684838}"/>
          </ac:picMkLst>
        </pc:picChg>
      </pc:sldChg>
      <pc:sldChg chg="addSp modSp mod">
        <pc:chgData name="Auradee Castro" userId="5b47d84d-e816-421d-a9bd-ea845bdedce9" providerId="ADAL" clId="{550C1106-BC84-4108-9D85-E56BA601B369}" dt="2023-11-14T06:01:23.700" v="2956" actId="1035"/>
        <pc:sldMkLst>
          <pc:docMk/>
          <pc:sldMk cId="371668594" sldId="644"/>
        </pc:sldMkLst>
        <pc:spChg chg="mod">
          <ac:chgData name="Auradee Castro" userId="5b47d84d-e816-421d-a9bd-ea845bdedce9" providerId="ADAL" clId="{550C1106-BC84-4108-9D85-E56BA601B369}" dt="2023-11-14T04:43:57.388" v="1186" actId="20577"/>
          <ac:spMkLst>
            <pc:docMk/>
            <pc:sldMk cId="371668594" sldId="644"/>
            <ac:spMk id="2" creationId="{8C980B3B-C3C4-B122-8CFA-F53F8A230686}"/>
          </ac:spMkLst>
        </pc:spChg>
        <pc:spChg chg="add mod">
          <ac:chgData name="Auradee Castro" userId="5b47d84d-e816-421d-a9bd-ea845bdedce9" providerId="ADAL" clId="{550C1106-BC84-4108-9D85-E56BA601B369}" dt="2023-11-14T06:01:23.700" v="2956" actId="1035"/>
          <ac:spMkLst>
            <pc:docMk/>
            <pc:sldMk cId="371668594" sldId="644"/>
            <ac:spMk id="3" creationId="{2DF7BD28-8E73-237A-B6D5-2E7E654F7365}"/>
          </ac:spMkLst>
        </pc:spChg>
        <pc:spChg chg="add mod">
          <ac:chgData name="Auradee Castro" userId="5b47d84d-e816-421d-a9bd-ea845bdedce9" providerId="ADAL" clId="{550C1106-BC84-4108-9D85-E56BA601B369}" dt="2023-11-14T05:34:54.688" v="2626"/>
          <ac:spMkLst>
            <pc:docMk/>
            <pc:sldMk cId="371668594" sldId="644"/>
            <ac:spMk id="4" creationId="{C2C578D0-14FC-1910-45D7-109FB2321A26}"/>
          </ac:spMkLst>
        </pc:spChg>
        <pc:spChg chg="add mod">
          <ac:chgData name="Auradee Castro" userId="5b47d84d-e816-421d-a9bd-ea845bdedce9" providerId="ADAL" clId="{550C1106-BC84-4108-9D85-E56BA601B369}" dt="2023-11-14T04:54:51.021" v="1232" actId="14100"/>
          <ac:spMkLst>
            <pc:docMk/>
            <pc:sldMk cId="371668594" sldId="644"/>
            <ac:spMk id="5" creationId="{F11484AE-7E62-ADAA-D8C2-95B76320FAE2}"/>
          </ac:spMkLst>
        </pc:spChg>
        <pc:spChg chg="add mod">
          <ac:chgData name="Auradee Castro" userId="5b47d84d-e816-421d-a9bd-ea845bdedce9" providerId="ADAL" clId="{550C1106-BC84-4108-9D85-E56BA601B369}" dt="2023-11-14T04:54:51.021" v="1232" actId="14100"/>
          <ac:spMkLst>
            <pc:docMk/>
            <pc:sldMk cId="371668594" sldId="644"/>
            <ac:spMk id="6" creationId="{4029A7B2-8326-2C3B-A276-79982DCE4108}"/>
          </ac:spMkLst>
        </pc:spChg>
        <pc:spChg chg="add mod">
          <ac:chgData name="Auradee Castro" userId="5b47d84d-e816-421d-a9bd-ea845bdedce9" providerId="ADAL" clId="{550C1106-BC84-4108-9D85-E56BA601B369}" dt="2023-11-14T04:54:51.021" v="1232" actId="14100"/>
          <ac:spMkLst>
            <pc:docMk/>
            <pc:sldMk cId="371668594" sldId="644"/>
            <ac:spMk id="7" creationId="{3024139D-12A8-C554-B1AD-6747DC8EF12C}"/>
          </ac:spMkLst>
        </pc:spChg>
        <pc:spChg chg="add mod">
          <ac:chgData name="Auradee Castro" userId="5b47d84d-e816-421d-a9bd-ea845bdedce9" providerId="ADAL" clId="{550C1106-BC84-4108-9D85-E56BA601B369}" dt="2023-11-14T04:54:51.021" v="1232" actId="14100"/>
          <ac:spMkLst>
            <pc:docMk/>
            <pc:sldMk cId="371668594" sldId="644"/>
            <ac:spMk id="8" creationId="{C6B3552A-9178-9203-F183-9F668900E738}"/>
          </ac:spMkLst>
        </pc:spChg>
      </pc:sldChg>
      <pc:sldChg chg="del">
        <pc:chgData name="Auradee Castro" userId="5b47d84d-e816-421d-a9bd-ea845bdedce9" providerId="ADAL" clId="{550C1106-BC84-4108-9D85-E56BA601B369}" dt="2023-11-14T04:19:44.880" v="933" actId="47"/>
        <pc:sldMkLst>
          <pc:docMk/>
          <pc:sldMk cId="2153428761" sldId="645"/>
        </pc:sldMkLst>
      </pc:sldChg>
      <pc:sldChg chg="del">
        <pc:chgData name="Auradee Castro" userId="5b47d84d-e816-421d-a9bd-ea845bdedce9" providerId="ADAL" clId="{550C1106-BC84-4108-9D85-E56BA601B369}" dt="2023-11-14T04:57:14.461" v="1311" actId="2696"/>
        <pc:sldMkLst>
          <pc:docMk/>
          <pc:sldMk cId="1805925449" sldId="647"/>
        </pc:sldMkLst>
      </pc:sldChg>
      <pc:sldChg chg="addSp delSp modSp mod">
        <pc:chgData name="Auradee Castro" userId="5b47d84d-e816-421d-a9bd-ea845bdedce9" providerId="ADAL" clId="{550C1106-BC84-4108-9D85-E56BA601B369}" dt="2023-11-15T04:10:36.291" v="3445" actId="20577"/>
        <pc:sldMkLst>
          <pc:docMk/>
          <pc:sldMk cId="2831065698" sldId="650"/>
        </pc:sldMkLst>
        <pc:spChg chg="mod">
          <ac:chgData name="Auradee Castro" userId="5b47d84d-e816-421d-a9bd-ea845bdedce9" providerId="ADAL" clId="{550C1106-BC84-4108-9D85-E56BA601B369}" dt="2023-11-14T05:01:18.023" v="1490" actId="20577"/>
          <ac:spMkLst>
            <pc:docMk/>
            <pc:sldMk cId="2831065698" sldId="650"/>
            <ac:spMk id="2" creationId="{B5083659-DB42-72B6-6546-23D886B5F561}"/>
          </ac:spMkLst>
        </pc:spChg>
        <pc:spChg chg="add del mod">
          <ac:chgData name="Auradee Castro" userId="5b47d84d-e816-421d-a9bd-ea845bdedce9" providerId="ADAL" clId="{550C1106-BC84-4108-9D85-E56BA601B369}" dt="2023-11-14T05:55:15.986" v="2633" actId="478"/>
          <ac:spMkLst>
            <pc:docMk/>
            <pc:sldMk cId="2831065698" sldId="650"/>
            <ac:spMk id="3" creationId="{CFD62E12-7A20-D2A9-1875-26A5370CE8AA}"/>
          </ac:spMkLst>
        </pc:spChg>
        <pc:spChg chg="add mod">
          <ac:chgData name="Auradee Castro" userId="5b47d84d-e816-421d-a9bd-ea845bdedce9" providerId="ADAL" clId="{550C1106-BC84-4108-9D85-E56BA601B369}" dt="2023-11-15T03:51:47.061" v="3273" actId="1076"/>
          <ac:spMkLst>
            <pc:docMk/>
            <pc:sldMk cId="2831065698" sldId="650"/>
            <ac:spMk id="4" creationId="{8874E7FC-C1F6-4ECE-D06E-A4BDA7110C39}"/>
          </ac:spMkLst>
        </pc:spChg>
        <pc:spChg chg="add del">
          <ac:chgData name="Auradee Castro" userId="5b47d84d-e816-421d-a9bd-ea845bdedce9" providerId="ADAL" clId="{550C1106-BC84-4108-9D85-E56BA601B369}" dt="2023-11-14T03:40:59.216" v="54" actId="478"/>
          <ac:spMkLst>
            <pc:docMk/>
            <pc:sldMk cId="2831065698" sldId="650"/>
            <ac:spMk id="4" creationId="{EAD09D3E-39E8-D2B3-4185-ECB95D73879B}"/>
          </ac:spMkLst>
        </pc:spChg>
        <pc:spChg chg="mod">
          <ac:chgData name="Auradee Castro" userId="5b47d84d-e816-421d-a9bd-ea845bdedce9" providerId="ADAL" clId="{550C1106-BC84-4108-9D85-E56BA601B369}" dt="2023-11-14T06:00:20.179" v="2942" actId="1036"/>
          <ac:spMkLst>
            <pc:docMk/>
            <pc:sldMk cId="2831065698" sldId="650"/>
            <ac:spMk id="5" creationId="{FCCB7B40-9EC7-C3F0-A608-13106A27C705}"/>
          </ac:spMkLst>
        </pc:spChg>
        <pc:spChg chg="del mod">
          <ac:chgData name="Auradee Castro" userId="5b47d84d-e816-421d-a9bd-ea845bdedce9" providerId="ADAL" clId="{550C1106-BC84-4108-9D85-E56BA601B369}" dt="2023-11-14T04:59:18.943" v="1332" actId="478"/>
          <ac:spMkLst>
            <pc:docMk/>
            <pc:sldMk cId="2831065698" sldId="650"/>
            <ac:spMk id="12" creationId="{1C10229D-3D11-B39E-441F-0D19A8FEF877}"/>
          </ac:spMkLst>
        </pc:spChg>
        <pc:spChg chg="add mod">
          <ac:chgData name="Auradee Castro" userId="5b47d84d-e816-421d-a9bd-ea845bdedce9" providerId="ADAL" clId="{550C1106-BC84-4108-9D85-E56BA601B369}" dt="2023-11-15T04:10:36.291" v="3445" actId="20577"/>
          <ac:spMkLst>
            <pc:docMk/>
            <pc:sldMk cId="2831065698" sldId="650"/>
            <ac:spMk id="13" creationId="{1648B700-F83B-0BE9-28F6-234DD5B4574A}"/>
          </ac:spMkLst>
        </pc:spChg>
        <pc:spChg chg="mod">
          <ac:chgData name="Auradee Castro" userId="5b47d84d-e816-421d-a9bd-ea845bdedce9" providerId="ADAL" clId="{550C1106-BC84-4108-9D85-E56BA601B369}" dt="2023-11-14T06:00:20.179" v="2942" actId="1036"/>
          <ac:spMkLst>
            <pc:docMk/>
            <pc:sldMk cId="2831065698" sldId="650"/>
            <ac:spMk id="14" creationId="{E1F0423E-9869-5856-7936-A612CC599463}"/>
          </ac:spMkLst>
        </pc:spChg>
        <pc:spChg chg="mod">
          <ac:chgData name="Auradee Castro" userId="5b47d84d-e816-421d-a9bd-ea845bdedce9" providerId="ADAL" clId="{550C1106-BC84-4108-9D85-E56BA601B369}" dt="2023-11-14T06:00:20.179" v="2942" actId="1036"/>
          <ac:spMkLst>
            <pc:docMk/>
            <pc:sldMk cId="2831065698" sldId="650"/>
            <ac:spMk id="15" creationId="{E76101ED-A0AE-96C3-3E6B-E58DB7B71C73}"/>
          </ac:spMkLst>
        </pc:spChg>
        <pc:spChg chg="mod">
          <ac:chgData name="Auradee Castro" userId="5b47d84d-e816-421d-a9bd-ea845bdedce9" providerId="ADAL" clId="{550C1106-BC84-4108-9D85-E56BA601B369}" dt="2023-11-14T06:00:20.179" v="2942" actId="1036"/>
          <ac:spMkLst>
            <pc:docMk/>
            <pc:sldMk cId="2831065698" sldId="650"/>
            <ac:spMk id="24" creationId="{6AAE8881-0C12-E0C4-9B54-690FB3D493C7}"/>
          </ac:spMkLst>
        </pc:spChg>
        <pc:spChg chg="mod">
          <ac:chgData name="Auradee Castro" userId="5b47d84d-e816-421d-a9bd-ea845bdedce9" providerId="ADAL" clId="{550C1106-BC84-4108-9D85-E56BA601B369}" dt="2023-11-14T06:00:20.179" v="2942" actId="1036"/>
          <ac:spMkLst>
            <pc:docMk/>
            <pc:sldMk cId="2831065698" sldId="650"/>
            <ac:spMk id="25" creationId="{CFF57458-C221-9C02-F8E4-99CA3647C1F5}"/>
          </ac:spMkLst>
        </pc:spChg>
        <pc:spChg chg="mod">
          <ac:chgData name="Auradee Castro" userId="5b47d84d-e816-421d-a9bd-ea845bdedce9" providerId="ADAL" clId="{550C1106-BC84-4108-9D85-E56BA601B369}" dt="2023-11-14T06:00:20.179" v="2942" actId="1036"/>
          <ac:spMkLst>
            <pc:docMk/>
            <pc:sldMk cId="2831065698" sldId="650"/>
            <ac:spMk id="26" creationId="{4A5DAABD-AA32-7007-4F9D-EA588C7FB110}"/>
          </ac:spMkLst>
        </pc:spChg>
        <pc:spChg chg="mod">
          <ac:chgData name="Auradee Castro" userId="5b47d84d-e816-421d-a9bd-ea845bdedce9" providerId="ADAL" clId="{550C1106-BC84-4108-9D85-E56BA601B369}" dt="2023-11-15T04:03:40.429" v="3435" actId="20577"/>
          <ac:spMkLst>
            <pc:docMk/>
            <pc:sldMk cId="2831065698" sldId="650"/>
            <ac:spMk id="28" creationId="{CA684122-BAE0-61E5-10B7-2DFD31B32597}"/>
          </ac:spMkLst>
        </pc:spChg>
        <pc:spChg chg="mod">
          <ac:chgData name="Auradee Castro" userId="5b47d84d-e816-421d-a9bd-ea845bdedce9" providerId="ADAL" clId="{550C1106-BC84-4108-9D85-E56BA601B369}" dt="2023-11-14T06:00:20.179" v="2942" actId="1036"/>
          <ac:spMkLst>
            <pc:docMk/>
            <pc:sldMk cId="2831065698" sldId="650"/>
            <ac:spMk id="29" creationId="{94907A01-1A25-E460-B380-1959B6707637}"/>
          </ac:spMkLst>
        </pc:spChg>
        <pc:spChg chg="mod">
          <ac:chgData name="Auradee Castro" userId="5b47d84d-e816-421d-a9bd-ea845bdedce9" providerId="ADAL" clId="{550C1106-BC84-4108-9D85-E56BA601B369}" dt="2023-11-14T06:00:20.179" v="2942" actId="1036"/>
          <ac:spMkLst>
            <pc:docMk/>
            <pc:sldMk cId="2831065698" sldId="650"/>
            <ac:spMk id="30" creationId="{0F773E4A-A157-62FB-DB84-FB4B17EE1AF0}"/>
          </ac:spMkLst>
        </pc:spChg>
        <pc:spChg chg="mod">
          <ac:chgData name="Auradee Castro" userId="5b47d84d-e816-421d-a9bd-ea845bdedce9" providerId="ADAL" clId="{550C1106-BC84-4108-9D85-E56BA601B369}" dt="2023-11-15T03:55:56.683" v="3344" actId="20577"/>
          <ac:spMkLst>
            <pc:docMk/>
            <pc:sldMk cId="2831065698" sldId="650"/>
            <ac:spMk id="31" creationId="{70A76DD9-65F8-92BA-9239-9AC3B8CA778C}"/>
          </ac:spMkLst>
        </pc:spChg>
        <pc:spChg chg="mod">
          <ac:chgData name="Auradee Castro" userId="5b47d84d-e816-421d-a9bd-ea845bdedce9" providerId="ADAL" clId="{550C1106-BC84-4108-9D85-E56BA601B369}" dt="2023-11-14T06:00:20.179" v="2942" actId="1036"/>
          <ac:spMkLst>
            <pc:docMk/>
            <pc:sldMk cId="2831065698" sldId="650"/>
            <ac:spMk id="34" creationId="{95822498-F409-1E72-74A9-348F814E8A20}"/>
          </ac:spMkLst>
        </pc:spChg>
        <pc:spChg chg="mod">
          <ac:chgData name="Auradee Castro" userId="5b47d84d-e816-421d-a9bd-ea845bdedce9" providerId="ADAL" clId="{550C1106-BC84-4108-9D85-E56BA601B369}" dt="2023-11-14T06:00:20.179" v="2942" actId="1036"/>
          <ac:spMkLst>
            <pc:docMk/>
            <pc:sldMk cId="2831065698" sldId="650"/>
            <ac:spMk id="56" creationId="{3C7A6BD0-90EE-F67B-3516-256ADB5F0C4D}"/>
          </ac:spMkLst>
        </pc:spChg>
        <pc:spChg chg="mod">
          <ac:chgData name="Auradee Castro" userId="5b47d84d-e816-421d-a9bd-ea845bdedce9" providerId="ADAL" clId="{550C1106-BC84-4108-9D85-E56BA601B369}" dt="2023-11-14T06:00:20.179" v="2942" actId="1036"/>
          <ac:spMkLst>
            <pc:docMk/>
            <pc:sldMk cId="2831065698" sldId="650"/>
            <ac:spMk id="70" creationId="{A729D434-4578-EB03-EC4B-C0262BB22BEE}"/>
          </ac:spMkLst>
        </pc:spChg>
        <pc:grpChg chg="mod">
          <ac:chgData name="Auradee Castro" userId="5b47d84d-e816-421d-a9bd-ea845bdedce9" providerId="ADAL" clId="{550C1106-BC84-4108-9D85-E56BA601B369}" dt="2023-11-14T06:00:20.179" v="2942" actId="1036"/>
          <ac:grpSpMkLst>
            <pc:docMk/>
            <pc:sldMk cId="2831065698" sldId="650"/>
            <ac:grpSpMk id="6" creationId="{EAD5A4FF-E655-C2FE-60B3-06BFAAC88B3F}"/>
          </ac:grpSpMkLst>
        </pc:grpChg>
        <pc:grpChg chg="mod">
          <ac:chgData name="Auradee Castro" userId="5b47d84d-e816-421d-a9bd-ea845bdedce9" providerId="ADAL" clId="{550C1106-BC84-4108-9D85-E56BA601B369}" dt="2023-11-14T06:00:20.179" v="2942" actId="1036"/>
          <ac:grpSpMkLst>
            <pc:docMk/>
            <pc:sldMk cId="2831065698" sldId="650"/>
            <ac:grpSpMk id="9" creationId="{1FA23032-BB55-F50B-F3E4-4F050212CA9F}"/>
          </ac:grpSpMkLst>
        </pc:grpChg>
        <pc:grpChg chg="mod">
          <ac:chgData name="Auradee Castro" userId="5b47d84d-e816-421d-a9bd-ea845bdedce9" providerId="ADAL" clId="{550C1106-BC84-4108-9D85-E56BA601B369}" dt="2023-11-14T06:00:20.179" v="2942" actId="1036"/>
          <ac:grpSpMkLst>
            <pc:docMk/>
            <pc:sldMk cId="2831065698" sldId="650"/>
            <ac:grpSpMk id="19" creationId="{ECB696E0-173A-790D-32C0-0C4458285BCF}"/>
          </ac:grpSpMkLst>
        </pc:grpChg>
        <pc:grpChg chg="mod">
          <ac:chgData name="Auradee Castro" userId="5b47d84d-e816-421d-a9bd-ea845bdedce9" providerId="ADAL" clId="{550C1106-BC84-4108-9D85-E56BA601B369}" dt="2023-11-15T03:51:43.152" v="3271" actId="1076"/>
          <ac:grpSpMkLst>
            <pc:docMk/>
            <pc:sldMk cId="2831065698" sldId="650"/>
            <ac:grpSpMk id="40" creationId="{F76FF565-8357-EBB0-720F-4936B8B22082}"/>
          </ac:grpSpMkLst>
        </pc:grpChg>
        <pc:grpChg chg="mod">
          <ac:chgData name="Auradee Castro" userId="5b47d84d-e816-421d-a9bd-ea845bdedce9" providerId="ADAL" clId="{550C1106-BC84-4108-9D85-E56BA601B369}" dt="2023-11-14T06:00:20.179" v="2942" actId="1036"/>
          <ac:grpSpMkLst>
            <pc:docMk/>
            <pc:sldMk cId="2831065698" sldId="650"/>
            <ac:grpSpMk id="47" creationId="{4FE1B92A-5B14-D546-ADFC-D6839CF5B995}"/>
          </ac:grpSpMkLst>
        </pc:grpChg>
        <pc:grpChg chg="del mod">
          <ac:chgData name="Auradee Castro" userId="5b47d84d-e816-421d-a9bd-ea845bdedce9" providerId="ADAL" clId="{550C1106-BC84-4108-9D85-E56BA601B369}" dt="2023-11-14T06:00:10.230" v="2934" actId="478"/>
          <ac:grpSpMkLst>
            <pc:docMk/>
            <pc:sldMk cId="2831065698" sldId="650"/>
            <ac:grpSpMk id="50" creationId="{8DD090EF-16DA-E9D9-6423-9CB0FFA53310}"/>
          </ac:grpSpMkLst>
        </pc:grpChg>
        <pc:grpChg chg="mod">
          <ac:chgData name="Auradee Castro" userId="5b47d84d-e816-421d-a9bd-ea845bdedce9" providerId="ADAL" clId="{550C1106-BC84-4108-9D85-E56BA601B369}" dt="2023-11-14T06:00:20.179" v="2942" actId="1036"/>
          <ac:grpSpMkLst>
            <pc:docMk/>
            <pc:sldMk cId="2831065698" sldId="650"/>
            <ac:grpSpMk id="68" creationId="{A8A9DD93-29AE-23FE-AC53-FE4883AE5944}"/>
          </ac:grpSpMkLst>
        </pc:grpChg>
        <pc:cxnChg chg="mod">
          <ac:chgData name="Auradee Castro" userId="5b47d84d-e816-421d-a9bd-ea845bdedce9" providerId="ADAL" clId="{550C1106-BC84-4108-9D85-E56BA601B369}" dt="2023-11-14T06:00:20.179" v="2942" actId="1036"/>
          <ac:cxnSpMkLst>
            <pc:docMk/>
            <pc:sldMk cId="2831065698" sldId="650"/>
            <ac:cxnSpMk id="27" creationId="{96FC21D2-7381-7FD1-9643-A45576568DEF}"/>
          </ac:cxnSpMkLst>
        </pc:cxnChg>
        <pc:cxnChg chg="mod">
          <ac:chgData name="Auradee Castro" userId="5b47d84d-e816-421d-a9bd-ea845bdedce9" providerId="ADAL" clId="{550C1106-BC84-4108-9D85-E56BA601B369}" dt="2023-11-14T06:00:20.179" v="2942" actId="1036"/>
          <ac:cxnSpMkLst>
            <pc:docMk/>
            <pc:sldMk cId="2831065698" sldId="650"/>
            <ac:cxnSpMk id="32" creationId="{62FEF289-05D7-E15D-AAC3-A844F7234811}"/>
          </ac:cxnSpMkLst>
        </pc:cxnChg>
        <pc:cxnChg chg="mod">
          <ac:chgData name="Auradee Castro" userId="5b47d84d-e816-421d-a9bd-ea845bdedce9" providerId="ADAL" clId="{550C1106-BC84-4108-9D85-E56BA601B369}" dt="2023-11-14T06:00:20.179" v="2942" actId="1036"/>
          <ac:cxnSpMkLst>
            <pc:docMk/>
            <pc:sldMk cId="2831065698" sldId="650"/>
            <ac:cxnSpMk id="33" creationId="{C342B4FC-0441-E9E9-D724-2947E72F13E1}"/>
          </ac:cxnSpMkLst>
        </pc:cxnChg>
        <pc:cxnChg chg="mod">
          <ac:chgData name="Auradee Castro" userId="5b47d84d-e816-421d-a9bd-ea845bdedce9" providerId="ADAL" clId="{550C1106-BC84-4108-9D85-E56BA601B369}" dt="2023-11-14T06:00:20.179" v="2942" actId="1036"/>
          <ac:cxnSpMkLst>
            <pc:docMk/>
            <pc:sldMk cId="2831065698" sldId="650"/>
            <ac:cxnSpMk id="44" creationId="{5C9E2843-D5C1-05D9-7F06-B95C4143BA02}"/>
          </ac:cxnSpMkLst>
        </pc:cxnChg>
        <pc:cxnChg chg="mod">
          <ac:chgData name="Auradee Castro" userId="5b47d84d-e816-421d-a9bd-ea845bdedce9" providerId="ADAL" clId="{550C1106-BC84-4108-9D85-E56BA601B369}" dt="2023-11-14T06:00:20.179" v="2942" actId="1036"/>
          <ac:cxnSpMkLst>
            <pc:docMk/>
            <pc:sldMk cId="2831065698" sldId="650"/>
            <ac:cxnSpMk id="53" creationId="{8C59161B-E234-F270-C9E2-F3DA7038320D}"/>
          </ac:cxnSpMkLst>
        </pc:cxnChg>
        <pc:cxnChg chg="del mod">
          <ac:chgData name="Auradee Castro" userId="5b47d84d-e816-421d-a9bd-ea845bdedce9" providerId="ADAL" clId="{550C1106-BC84-4108-9D85-E56BA601B369}" dt="2023-11-14T06:00:13.217" v="2935" actId="478"/>
          <ac:cxnSpMkLst>
            <pc:docMk/>
            <pc:sldMk cId="2831065698" sldId="650"/>
            <ac:cxnSpMk id="55" creationId="{E8301671-F121-59F3-D261-26F6E05CE10E}"/>
          </ac:cxnSpMkLst>
        </pc:cxnChg>
        <pc:cxnChg chg="mod">
          <ac:chgData name="Auradee Castro" userId="5b47d84d-e816-421d-a9bd-ea845bdedce9" providerId="ADAL" clId="{550C1106-BC84-4108-9D85-E56BA601B369}" dt="2023-11-14T06:00:20.179" v="2942" actId="1036"/>
          <ac:cxnSpMkLst>
            <pc:docMk/>
            <pc:sldMk cId="2831065698" sldId="650"/>
            <ac:cxnSpMk id="69" creationId="{A106A6DF-123F-CA6C-EC6A-02958ECC4AE1}"/>
          </ac:cxnSpMkLst>
        </pc:cxnChg>
      </pc:sldChg>
      <pc:sldChg chg="addSp delSp modSp mod modNotesTx">
        <pc:chgData name="Auradee Castro" userId="5b47d84d-e816-421d-a9bd-ea845bdedce9" providerId="ADAL" clId="{550C1106-BC84-4108-9D85-E56BA601B369}" dt="2023-11-15T03:36:46.356" v="3047" actId="255"/>
        <pc:sldMkLst>
          <pc:docMk/>
          <pc:sldMk cId="4103147271" sldId="651"/>
        </pc:sldMkLst>
        <pc:spChg chg="mod">
          <ac:chgData name="Auradee Castro" userId="5b47d84d-e816-421d-a9bd-ea845bdedce9" providerId="ADAL" clId="{550C1106-BC84-4108-9D85-E56BA601B369}" dt="2023-11-14T05:01:03.264" v="1445" actId="20577"/>
          <ac:spMkLst>
            <pc:docMk/>
            <pc:sldMk cId="4103147271" sldId="651"/>
            <ac:spMk id="2" creationId="{64F11D8E-E0AD-C633-5975-BCBEA4CBF86D}"/>
          </ac:spMkLst>
        </pc:spChg>
        <pc:spChg chg="mod">
          <ac:chgData name="Auradee Castro" userId="5b47d84d-e816-421d-a9bd-ea845bdedce9" providerId="ADAL" clId="{550C1106-BC84-4108-9D85-E56BA601B369}" dt="2023-11-15T03:35:00.315" v="3022" actId="1035"/>
          <ac:spMkLst>
            <pc:docMk/>
            <pc:sldMk cId="4103147271" sldId="651"/>
            <ac:spMk id="4" creationId="{5227DD2E-8366-D18D-D909-123438734F48}"/>
          </ac:spMkLst>
        </pc:spChg>
        <pc:spChg chg="mod">
          <ac:chgData name="Auradee Castro" userId="5b47d84d-e816-421d-a9bd-ea845bdedce9" providerId="ADAL" clId="{550C1106-BC84-4108-9D85-E56BA601B369}" dt="2023-11-15T03:36:46.356" v="3047" actId="255"/>
          <ac:spMkLst>
            <pc:docMk/>
            <pc:sldMk cId="4103147271" sldId="651"/>
            <ac:spMk id="8" creationId="{6BDCE446-7E09-2718-AC95-D8D7BF356F5B}"/>
          </ac:spMkLst>
        </pc:spChg>
        <pc:spChg chg="del">
          <ac:chgData name="Auradee Castro" userId="5b47d84d-e816-421d-a9bd-ea845bdedce9" providerId="ADAL" clId="{550C1106-BC84-4108-9D85-E56BA601B369}" dt="2023-11-14T04:59:14.415" v="1331" actId="478"/>
          <ac:spMkLst>
            <pc:docMk/>
            <pc:sldMk cId="4103147271" sldId="651"/>
            <ac:spMk id="8" creationId="{92C50B31-F866-7B98-ED1E-7F6C3088E75C}"/>
          </ac:spMkLst>
        </pc:spChg>
        <pc:spChg chg="mod">
          <ac:chgData name="Auradee Castro" userId="5b47d84d-e816-421d-a9bd-ea845bdedce9" providerId="ADAL" clId="{550C1106-BC84-4108-9D85-E56BA601B369}" dt="2023-11-15T03:34:41.880" v="2995" actId="14100"/>
          <ac:spMkLst>
            <pc:docMk/>
            <pc:sldMk cId="4103147271" sldId="651"/>
            <ac:spMk id="12" creationId="{3CAD1D49-3969-DF9C-2CB0-6BC9D29B5228}"/>
          </ac:spMkLst>
        </pc:spChg>
        <pc:spChg chg="mod">
          <ac:chgData name="Auradee Castro" userId="5b47d84d-e816-421d-a9bd-ea845bdedce9" providerId="ADAL" clId="{550C1106-BC84-4108-9D85-E56BA601B369}" dt="2023-11-15T03:34:49.700" v="3014" actId="14100"/>
          <ac:spMkLst>
            <pc:docMk/>
            <pc:sldMk cId="4103147271" sldId="651"/>
            <ac:spMk id="15" creationId="{56B31BA0-A1C5-E089-F866-328C197D2A40}"/>
          </ac:spMkLst>
        </pc:spChg>
        <pc:spChg chg="mod">
          <ac:chgData name="Auradee Castro" userId="5b47d84d-e816-421d-a9bd-ea845bdedce9" providerId="ADAL" clId="{550C1106-BC84-4108-9D85-E56BA601B369}" dt="2023-11-15T03:34:28.827" v="2994" actId="20577"/>
          <ac:spMkLst>
            <pc:docMk/>
            <pc:sldMk cId="4103147271" sldId="651"/>
            <ac:spMk id="17" creationId="{445FCCD8-46AB-2B62-6012-A0ABB96968F8}"/>
          </ac:spMkLst>
        </pc:spChg>
        <pc:spChg chg="del mod">
          <ac:chgData name="Auradee Castro" userId="5b47d84d-e816-421d-a9bd-ea845bdedce9" providerId="ADAL" clId="{550C1106-BC84-4108-9D85-E56BA601B369}" dt="2023-11-14T05:25:18.553" v="2335" actId="478"/>
          <ac:spMkLst>
            <pc:docMk/>
            <pc:sldMk cId="4103147271" sldId="651"/>
            <ac:spMk id="17" creationId="{BE9E68F1-7714-69CE-1D2B-C13C45FB4E92}"/>
          </ac:spMkLst>
        </pc:spChg>
        <pc:spChg chg="mod">
          <ac:chgData name="Auradee Castro" userId="5b47d84d-e816-421d-a9bd-ea845bdedce9" providerId="ADAL" clId="{550C1106-BC84-4108-9D85-E56BA601B369}" dt="2023-11-14T03:34:21.148" v="41" actId="478"/>
          <ac:spMkLst>
            <pc:docMk/>
            <pc:sldMk cId="4103147271" sldId="651"/>
            <ac:spMk id="18" creationId="{6AB8B340-A5A1-1C09-EDF4-6505F38A2B53}"/>
          </ac:spMkLst>
        </pc:spChg>
        <pc:spChg chg="add mod">
          <ac:chgData name="Auradee Castro" userId="5b47d84d-e816-421d-a9bd-ea845bdedce9" providerId="ADAL" clId="{550C1106-BC84-4108-9D85-E56BA601B369}" dt="2023-11-14T05:34:26.084" v="2624" actId="20577"/>
          <ac:spMkLst>
            <pc:docMk/>
            <pc:sldMk cId="4103147271" sldId="651"/>
            <ac:spMk id="19" creationId="{3B28DD7A-A355-63C6-892C-523F0EEA0BC2}"/>
          </ac:spMkLst>
        </pc:spChg>
        <pc:spChg chg="mod">
          <ac:chgData name="Auradee Castro" userId="5b47d84d-e816-421d-a9bd-ea845bdedce9" providerId="ADAL" clId="{550C1106-BC84-4108-9D85-E56BA601B369}" dt="2023-11-14T03:40:04.608" v="51" actId="14100"/>
          <ac:spMkLst>
            <pc:docMk/>
            <pc:sldMk cId="4103147271" sldId="651"/>
            <ac:spMk id="20" creationId="{63AB8C03-C767-9C46-E78F-6E1AA710E6F7}"/>
          </ac:spMkLst>
        </pc:spChg>
        <pc:spChg chg="mod">
          <ac:chgData name="Auradee Castro" userId="5b47d84d-e816-421d-a9bd-ea845bdedce9" providerId="ADAL" clId="{550C1106-BC84-4108-9D85-E56BA601B369}" dt="2023-11-14T03:34:21.148" v="41" actId="478"/>
          <ac:spMkLst>
            <pc:docMk/>
            <pc:sldMk cId="4103147271" sldId="651"/>
            <ac:spMk id="21" creationId="{0D5ED5B2-28BD-E5B4-3164-D7140228E829}"/>
          </ac:spMkLst>
        </pc:spChg>
        <pc:spChg chg="del">
          <ac:chgData name="Auradee Castro" userId="5b47d84d-e816-421d-a9bd-ea845bdedce9" providerId="ADAL" clId="{550C1106-BC84-4108-9D85-E56BA601B369}" dt="2023-11-14T03:33:34.199" v="5" actId="478"/>
          <ac:spMkLst>
            <pc:docMk/>
            <pc:sldMk cId="4103147271" sldId="651"/>
            <ac:spMk id="22" creationId="{3F274097-D17D-6C1B-3DC9-E960A1C919BE}"/>
          </ac:spMkLst>
        </pc:spChg>
        <pc:spChg chg="del">
          <ac:chgData name="Auradee Castro" userId="5b47d84d-e816-421d-a9bd-ea845bdedce9" providerId="ADAL" clId="{550C1106-BC84-4108-9D85-E56BA601B369}" dt="2023-11-14T03:33:32.601" v="4" actId="478"/>
          <ac:spMkLst>
            <pc:docMk/>
            <pc:sldMk cId="4103147271" sldId="651"/>
            <ac:spMk id="23" creationId="{67CD657C-960B-6A26-7ED8-0C1EC685931D}"/>
          </ac:spMkLst>
        </pc:spChg>
        <pc:spChg chg="mod">
          <ac:chgData name="Auradee Castro" userId="5b47d84d-e816-421d-a9bd-ea845bdedce9" providerId="ADAL" clId="{550C1106-BC84-4108-9D85-E56BA601B369}" dt="2023-11-14T04:59:31.051" v="1349" actId="1035"/>
          <ac:spMkLst>
            <pc:docMk/>
            <pc:sldMk cId="4103147271" sldId="651"/>
            <ac:spMk id="43" creationId="{CDEF0D60-AFD0-2727-F843-43843A531B08}"/>
          </ac:spMkLst>
        </pc:spChg>
        <pc:spChg chg="mod">
          <ac:chgData name="Auradee Castro" userId="5b47d84d-e816-421d-a9bd-ea845bdedce9" providerId="ADAL" clId="{550C1106-BC84-4108-9D85-E56BA601B369}" dt="2023-11-14T04:59:31.051" v="1349" actId="1035"/>
          <ac:spMkLst>
            <pc:docMk/>
            <pc:sldMk cId="4103147271" sldId="651"/>
            <ac:spMk id="44" creationId="{AA98B162-16C5-ED31-95FE-AA7C4E26EEC4}"/>
          </ac:spMkLst>
        </pc:spChg>
        <pc:spChg chg="mod">
          <ac:chgData name="Auradee Castro" userId="5b47d84d-e816-421d-a9bd-ea845bdedce9" providerId="ADAL" clId="{550C1106-BC84-4108-9D85-E56BA601B369}" dt="2023-11-14T04:59:31.051" v="1349" actId="1035"/>
          <ac:spMkLst>
            <pc:docMk/>
            <pc:sldMk cId="4103147271" sldId="651"/>
            <ac:spMk id="79" creationId="{C789C47E-103B-E69B-F517-60771C49A3BF}"/>
          </ac:spMkLst>
        </pc:spChg>
        <pc:spChg chg="mod">
          <ac:chgData name="Auradee Castro" userId="5b47d84d-e816-421d-a9bd-ea845bdedce9" providerId="ADAL" clId="{550C1106-BC84-4108-9D85-E56BA601B369}" dt="2023-11-14T03:34:21.148" v="41" actId="478"/>
          <ac:spMkLst>
            <pc:docMk/>
            <pc:sldMk cId="4103147271" sldId="651"/>
            <ac:spMk id="87" creationId="{0EF22154-67E2-66CE-25D8-254AA35A1A95}"/>
          </ac:spMkLst>
        </pc:spChg>
        <pc:spChg chg="del">
          <ac:chgData name="Auradee Castro" userId="5b47d84d-e816-421d-a9bd-ea845bdedce9" providerId="ADAL" clId="{550C1106-BC84-4108-9D85-E56BA601B369}" dt="2023-11-14T03:35:11.270" v="50" actId="478"/>
          <ac:spMkLst>
            <pc:docMk/>
            <pc:sldMk cId="4103147271" sldId="651"/>
            <ac:spMk id="96" creationId="{5AD27F72-69B8-F7BD-C5CA-9D7656587CA0}"/>
          </ac:spMkLst>
        </pc:spChg>
        <pc:grpChg chg="mod">
          <ac:chgData name="Auradee Castro" userId="5b47d84d-e816-421d-a9bd-ea845bdedce9" providerId="ADAL" clId="{550C1106-BC84-4108-9D85-E56BA601B369}" dt="2023-11-14T04:59:31.051" v="1349" actId="1035"/>
          <ac:grpSpMkLst>
            <pc:docMk/>
            <pc:sldMk cId="4103147271" sldId="651"/>
            <ac:grpSpMk id="3" creationId="{9582386C-FF1F-71E7-A5D8-CAC6B6363FA2}"/>
          </ac:grpSpMkLst>
        </pc:grpChg>
        <pc:grpChg chg="mod">
          <ac:chgData name="Auradee Castro" userId="5b47d84d-e816-421d-a9bd-ea845bdedce9" providerId="ADAL" clId="{550C1106-BC84-4108-9D85-E56BA601B369}" dt="2023-11-14T04:59:31.051" v="1349" actId="1035"/>
          <ac:grpSpMkLst>
            <pc:docMk/>
            <pc:sldMk cId="4103147271" sldId="651"/>
            <ac:grpSpMk id="5" creationId="{C9DA5E09-6429-D528-067A-13C6C05F5193}"/>
          </ac:grpSpMkLst>
        </pc:grpChg>
        <pc:grpChg chg="mod">
          <ac:chgData name="Auradee Castro" userId="5b47d84d-e816-421d-a9bd-ea845bdedce9" providerId="ADAL" clId="{550C1106-BC84-4108-9D85-E56BA601B369}" dt="2023-11-14T04:59:31.051" v="1349" actId="1035"/>
          <ac:grpSpMkLst>
            <pc:docMk/>
            <pc:sldMk cId="4103147271" sldId="651"/>
            <ac:grpSpMk id="9" creationId="{AE6C7375-6E5E-7F42-E53F-8AEE52266884}"/>
          </ac:grpSpMkLst>
        </pc:grpChg>
        <pc:grpChg chg="mod">
          <ac:chgData name="Auradee Castro" userId="5b47d84d-e816-421d-a9bd-ea845bdedce9" providerId="ADAL" clId="{550C1106-BC84-4108-9D85-E56BA601B369}" dt="2023-11-14T04:59:31.051" v="1349" actId="1035"/>
          <ac:grpSpMkLst>
            <pc:docMk/>
            <pc:sldMk cId="4103147271" sldId="651"/>
            <ac:grpSpMk id="29" creationId="{BA38460B-1AE9-953E-0CAD-9EA5AC1B782D}"/>
          </ac:grpSpMkLst>
        </pc:grpChg>
        <pc:grpChg chg="mod">
          <ac:chgData name="Auradee Castro" userId="5b47d84d-e816-421d-a9bd-ea845bdedce9" providerId="ADAL" clId="{550C1106-BC84-4108-9D85-E56BA601B369}" dt="2023-11-14T04:59:31.051" v="1349" actId="1035"/>
          <ac:grpSpMkLst>
            <pc:docMk/>
            <pc:sldMk cId="4103147271" sldId="651"/>
            <ac:grpSpMk id="34" creationId="{D80C22A8-CA94-BC00-6B3B-146213218B50}"/>
          </ac:grpSpMkLst>
        </pc:grpChg>
        <pc:grpChg chg="mod">
          <ac:chgData name="Auradee Castro" userId="5b47d84d-e816-421d-a9bd-ea845bdedce9" providerId="ADAL" clId="{550C1106-BC84-4108-9D85-E56BA601B369}" dt="2023-11-14T04:59:31.051" v="1349" actId="1035"/>
          <ac:grpSpMkLst>
            <pc:docMk/>
            <pc:sldMk cId="4103147271" sldId="651"/>
            <ac:grpSpMk id="38" creationId="{6626F88F-A99A-512C-18BF-473F1ABB0321}"/>
          </ac:grpSpMkLst>
        </pc:grpChg>
        <pc:grpChg chg="mod">
          <ac:chgData name="Auradee Castro" userId="5b47d84d-e816-421d-a9bd-ea845bdedce9" providerId="ADAL" clId="{550C1106-BC84-4108-9D85-E56BA601B369}" dt="2023-11-14T04:59:31.051" v="1349" actId="1035"/>
          <ac:grpSpMkLst>
            <pc:docMk/>
            <pc:sldMk cId="4103147271" sldId="651"/>
            <ac:grpSpMk id="45" creationId="{F54191AC-7B24-892A-4EAD-362A86CFC211}"/>
          </ac:grpSpMkLst>
        </pc:grpChg>
        <pc:grpChg chg="mod">
          <ac:chgData name="Auradee Castro" userId="5b47d84d-e816-421d-a9bd-ea845bdedce9" providerId="ADAL" clId="{550C1106-BC84-4108-9D85-E56BA601B369}" dt="2023-11-14T04:59:31.051" v="1349" actId="1035"/>
          <ac:grpSpMkLst>
            <pc:docMk/>
            <pc:sldMk cId="4103147271" sldId="651"/>
            <ac:grpSpMk id="61" creationId="{9B089737-921B-C496-9FD6-FF389AA25491}"/>
          </ac:grpSpMkLst>
        </pc:grpChg>
        <pc:grpChg chg="mod">
          <ac:chgData name="Auradee Castro" userId="5b47d84d-e816-421d-a9bd-ea845bdedce9" providerId="ADAL" clId="{550C1106-BC84-4108-9D85-E56BA601B369}" dt="2023-11-14T04:59:31.051" v="1349" actId="1035"/>
          <ac:grpSpMkLst>
            <pc:docMk/>
            <pc:sldMk cId="4103147271" sldId="651"/>
            <ac:grpSpMk id="65" creationId="{A7334C62-6A30-27F3-CDE3-B683B176B78A}"/>
          </ac:grpSpMkLst>
        </pc:grpChg>
        <pc:grpChg chg="mod">
          <ac:chgData name="Auradee Castro" userId="5b47d84d-e816-421d-a9bd-ea845bdedce9" providerId="ADAL" clId="{550C1106-BC84-4108-9D85-E56BA601B369}" dt="2023-11-14T04:59:31.051" v="1349" actId="1035"/>
          <ac:grpSpMkLst>
            <pc:docMk/>
            <pc:sldMk cId="4103147271" sldId="651"/>
            <ac:grpSpMk id="69" creationId="{BDE7173D-BF55-FB7B-0847-CC7AB19593B7}"/>
          </ac:grpSpMkLst>
        </pc:grpChg>
        <pc:grpChg chg="mod">
          <ac:chgData name="Auradee Castro" userId="5b47d84d-e816-421d-a9bd-ea845bdedce9" providerId="ADAL" clId="{550C1106-BC84-4108-9D85-E56BA601B369}" dt="2023-11-14T04:59:31.051" v="1349" actId="1035"/>
          <ac:grpSpMkLst>
            <pc:docMk/>
            <pc:sldMk cId="4103147271" sldId="651"/>
            <ac:grpSpMk id="97" creationId="{D55566E0-B6D3-291E-A7E7-C7ACBEE90938}"/>
          </ac:grpSpMkLst>
        </pc:grpChg>
        <pc:cxnChg chg="mod">
          <ac:chgData name="Auradee Castro" userId="5b47d84d-e816-421d-a9bd-ea845bdedce9" providerId="ADAL" clId="{550C1106-BC84-4108-9D85-E56BA601B369}" dt="2023-11-15T03:34:47.123" v="3013" actId="1035"/>
          <ac:cxnSpMkLst>
            <pc:docMk/>
            <pc:sldMk cId="4103147271" sldId="651"/>
            <ac:cxnSpMk id="22" creationId="{0A542E17-F61A-BEC5-08B8-A82A66618EA1}"/>
          </ac:cxnSpMkLst>
        </pc:cxnChg>
        <pc:cxnChg chg="mod">
          <ac:chgData name="Auradee Castro" userId="5b47d84d-e816-421d-a9bd-ea845bdedce9" providerId="ADAL" clId="{550C1106-BC84-4108-9D85-E56BA601B369}" dt="2023-11-14T04:59:31.051" v="1349" actId="1035"/>
          <ac:cxnSpMkLst>
            <pc:docMk/>
            <pc:sldMk cId="4103147271" sldId="651"/>
            <ac:cxnSpMk id="24" creationId="{14A2D170-A664-8BC5-FEC9-D9EC96C47530}"/>
          </ac:cxnSpMkLst>
        </pc:cxnChg>
        <pc:cxnChg chg="del mod">
          <ac:chgData name="Auradee Castro" userId="5b47d84d-e816-421d-a9bd-ea845bdedce9" providerId="ADAL" clId="{550C1106-BC84-4108-9D85-E56BA601B369}" dt="2023-11-14T03:34:21.148" v="41" actId="478"/>
          <ac:cxnSpMkLst>
            <pc:docMk/>
            <pc:sldMk cId="4103147271" sldId="651"/>
            <ac:cxnSpMk id="25" creationId="{6DEDBCF5-1439-CD64-C463-2E69D815C378}"/>
          </ac:cxnSpMkLst>
        </pc:cxnChg>
        <pc:cxnChg chg="mod">
          <ac:chgData name="Auradee Castro" userId="5b47d84d-e816-421d-a9bd-ea845bdedce9" providerId="ADAL" clId="{550C1106-BC84-4108-9D85-E56BA601B369}" dt="2023-11-14T04:59:31.051" v="1349" actId="1035"/>
          <ac:cxnSpMkLst>
            <pc:docMk/>
            <pc:sldMk cId="4103147271" sldId="651"/>
            <ac:cxnSpMk id="32" creationId="{A104217B-82E9-D557-7CB0-6058E4B20FFA}"/>
          </ac:cxnSpMkLst>
        </pc:cxnChg>
        <pc:cxnChg chg="mod">
          <ac:chgData name="Auradee Castro" userId="5b47d84d-e816-421d-a9bd-ea845bdedce9" providerId="ADAL" clId="{550C1106-BC84-4108-9D85-E56BA601B369}" dt="2023-11-14T04:59:31.051" v="1349" actId="1035"/>
          <ac:cxnSpMkLst>
            <pc:docMk/>
            <pc:sldMk cId="4103147271" sldId="651"/>
            <ac:cxnSpMk id="37" creationId="{EA196419-0ED4-5877-80C4-0C6119D35B47}"/>
          </ac:cxnSpMkLst>
        </pc:cxnChg>
        <pc:cxnChg chg="mod">
          <ac:chgData name="Auradee Castro" userId="5b47d84d-e816-421d-a9bd-ea845bdedce9" providerId="ADAL" clId="{550C1106-BC84-4108-9D85-E56BA601B369}" dt="2023-11-14T04:59:31.051" v="1349" actId="1035"/>
          <ac:cxnSpMkLst>
            <pc:docMk/>
            <pc:sldMk cId="4103147271" sldId="651"/>
            <ac:cxnSpMk id="41" creationId="{4E40DFD1-006B-308B-FFBA-FC0C3EA1F149}"/>
          </ac:cxnSpMkLst>
        </pc:cxnChg>
        <pc:cxnChg chg="mod">
          <ac:chgData name="Auradee Castro" userId="5b47d84d-e816-421d-a9bd-ea845bdedce9" providerId="ADAL" clId="{550C1106-BC84-4108-9D85-E56BA601B369}" dt="2023-11-14T04:59:31.051" v="1349" actId="1035"/>
          <ac:cxnSpMkLst>
            <pc:docMk/>
            <pc:sldMk cId="4103147271" sldId="651"/>
            <ac:cxnSpMk id="51" creationId="{B9D74ED2-EE3A-AE5F-86A1-2D17EBF09FA4}"/>
          </ac:cxnSpMkLst>
        </pc:cxnChg>
        <pc:cxnChg chg="mod">
          <ac:chgData name="Auradee Castro" userId="5b47d84d-e816-421d-a9bd-ea845bdedce9" providerId="ADAL" clId="{550C1106-BC84-4108-9D85-E56BA601B369}" dt="2023-11-14T04:59:31.051" v="1349" actId="1035"/>
          <ac:cxnSpMkLst>
            <pc:docMk/>
            <pc:sldMk cId="4103147271" sldId="651"/>
            <ac:cxnSpMk id="52" creationId="{69D6D1DD-5923-71CE-8669-064D8A34099A}"/>
          </ac:cxnSpMkLst>
        </pc:cxnChg>
        <pc:cxnChg chg="mod">
          <ac:chgData name="Auradee Castro" userId="5b47d84d-e816-421d-a9bd-ea845bdedce9" providerId="ADAL" clId="{550C1106-BC84-4108-9D85-E56BA601B369}" dt="2023-11-14T04:59:31.051" v="1349" actId="1035"/>
          <ac:cxnSpMkLst>
            <pc:docMk/>
            <pc:sldMk cId="4103147271" sldId="651"/>
            <ac:cxnSpMk id="64" creationId="{3771A3C5-8A69-A5A0-B12F-AC40A77C2E93}"/>
          </ac:cxnSpMkLst>
        </pc:cxnChg>
        <pc:cxnChg chg="mod">
          <ac:chgData name="Auradee Castro" userId="5b47d84d-e816-421d-a9bd-ea845bdedce9" providerId="ADAL" clId="{550C1106-BC84-4108-9D85-E56BA601B369}" dt="2023-11-14T04:59:31.051" v="1349" actId="1035"/>
          <ac:cxnSpMkLst>
            <pc:docMk/>
            <pc:sldMk cId="4103147271" sldId="651"/>
            <ac:cxnSpMk id="68" creationId="{5F944B85-2668-4B0B-6532-7B45B7E9C47A}"/>
          </ac:cxnSpMkLst>
        </pc:cxnChg>
        <pc:cxnChg chg="mod">
          <ac:chgData name="Auradee Castro" userId="5b47d84d-e816-421d-a9bd-ea845bdedce9" providerId="ADAL" clId="{550C1106-BC84-4108-9D85-E56BA601B369}" dt="2023-11-14T05:01:48.287" v="1492" actId="14100"/>
          <ac:cxnSpMkLst>
            <pc:docMk/>
            <pc:sldMk cId="4103147271" sldId="651"/>
            <ac:cxnSpMk id="75" creationId="{F5A91494-3F4F-6D0F-55AF-64B825FBDBB3}"/>
          </ac:cxnSpMkLst>
        </pc:cxnChg>
        <pc:cxnChg chg="mod">
          <ac:chgData name="Auradee Castro" userId="5b47d84d-e816-421d-a9bd-ea845bdedce9" providerId="ADAL" clId="{550C1106-BC84-4108-9D85-E56BA601B369}" dt="2023-11-14T04:59:31.051" v="1349" actId="1035"/>
          <ac:cxnSpMkLst>
            <pc:docMk/>
            <pc:sldMk cId="4103147271" sldId="651"/>
            <ac:cxnSpMk id="81" creationId="{0C8F65F9-DDCE-93D7-6584-4685D8989EC4}"/>
          </ac:cxnSpMkLst>
        </pc:cxnChg>
      </pc:sldChg>
      <pc:sldChg chg="modSp mod">
        <pc:chgData name="Auradee Castro" userId="5b47d84d-e816-421d-a9bd-ea845bdedce9" providerId="ADAL" clId="{550C1106-BC84-4108-9D85-E56BA601B369}" dt="2023-11-15T04:19:17.870" v="3447" actId="207"/>
        <pc:sldMkLst>
          <pc:docMk/>
          <pc:sldMk cId="2631071951" sldId="663"/>
        </pc:sldMkLst>
        <pc:spChg chg="mod">
          <ac:chgData name="Auradee Castro" userId="5b47d84d-e816-421d-a9bd-ea845bdedce9" providerId="ADAL" clId="{550C1106-BC84-4108-9D85-E56BA601B369}" dt="2023-11-15T04:19:17.870" v="3447" actId="207"/>
          <ac:spMkLst>
            <pc:docMk/>
            <pc:sldMk cId="2631071951" sldId="663"/>
            <ac:spMk id="31" creationId="{9B9B9E4D-570A-67DE-5508-8D7A2B4C6C89}"/>
          </ac:spMkLst>
        </pc:spChg>
      </pc:sldChg>
    </pc:docChg>
  </pc:docChgLst>
  <pc:docChgLst>
    <pc:chgData name="Miraj Sinya" userId="a6e95797-5893-4261-9f10-8f81f198df75" providerId="ADAL" clId="{53F80C9B-833D-4693-AFD3-13DDAF0ECA52}"/>
    <pc:docChg chg="undo redo custSel addSld delSld modSld sldOrd">
      <pc:chgData name="Miraj Sinya" userId="a6e95797-5893-4261-9f10-8f81f198df75" providerId="ADAL" clId="{53F80C9B-833D-4693-AFD3-13DDAF0ECA52}" dt="2023-11-15T18:49:27.638" v="10193" actId="20577"/>
      <pc:docMkLst>
        <pc:docMk/>
      </pc:docMkLst>
      <pc:sldChg chg="modSp mod">
        <pc:chgData name="Miraj Sinya" userId="a6e95797-5893-4261-9f10-8f81f198df75" providerId="ADAL" clId="{53F80C9B-833D-4693-AFD3-13DDAF0ECA52}" dt="2023-11-15T02:32:49.683" v="8906" actId="12"/>
        <pc:sldMkLst>
          <pc:docMk/>
          <pc:sldMk cId="3394563635" sldId="581"/>
        </pc:sldMkLst>
        <pc:spChg chg="mod">
          <ac:chgData name="Miraj Sinya" userId="a6e95797-5893-4261-9f10-8f81f198df75" providerId="ADAL" clId="{53F80C9B-833D-4693-AFD3-13DDAF0ECA52}" dt="2023-11-15T02:31:10.047" v="8852" actId="20577"/>
          <ac:spMkLst>
            <pc:docMk/>
            <pc:sldMk cId="3394563635" sldId="581"/>
            <ac:spMk id="2" creationId="{B2FAEFB0-D429-0836-F9FE-61F4296114BE}"/>
          </ac:spMkLst>
        </pc:spChg>
        <pc:spChg chg="mod">
          <ac:chgData name="Miraj Sinya" userId="a6e95797-5893-4261-9f10-8f81f198df75" providerId="ADAL" clId="{53F80C9B-833D-4693-AFD3-13DDAF0ECA52}" dt="2023-11-15T02:32:49.683" v="8906" actId="12"/>
          <ac:spMkLst>
            <pc:docMk/>
            <pc:sldMk cId="3394563635" sldId="581"/>
            <ac:spMk id="4" creationId="{B9F7AAA0-6D2F-909C-1E50-4F93904827DA}"/>
          </ac:spMkLst>
        </pc:spChg>
      </pc:sldChg>
      <pc:sldChg chg="del">
        <pc:chgData name="Miraj Sinya" userId="a6e95797-5893-4261-9f10-8f81f198df75" providerId="ADAL" clId="{53F80C9B-833D-4693-AFD3-13DDAF0ECA52}" dt="2023-11-14T04:57:20.984" v="2588" actId="47"/>
        <pc:sldMkLst>
          <pc:docMk/>
          <pc:sldMk cId="2270713310" sldId="598"/>
        </pc:sldMkLst>
      </pc:sldChg>
      <pc:sldChg chg="modSp mod">
        <pc:chgData name="Miraj Sinya" userId="a6e95797-5893-4261-9f10-8f81f198df75" providerId="ADAL" clId="{53F80C9B-833D-4693-AFD3-13DDAF0ECA52}" dt="2023-11-15T03:48:07.469" v="10171" actId="1076"/>
        <pc:sldMkLst>
          <pc:docMk/>
          <pc:sldMk cId="2705744719" sldId="622"/>
        </pc:sldMkLst>
        <pc:spChg chg="mod">
          <ac:chgData name="Miraj Sinya" userId="a6e95797-5893-4261-9f10-8f81f198df75" providerId="ADAL" clId="{53F80C9B-833D-4693-AFD3-13DDAF0ECA52}" dt="2023-11-15T03:48:07.469" v="10171" actId="1076"/>
          <ac:spMkLst>
            <pc:docMk/>
            <pc:sldMk cId="2705744719" sldId="622"/>
            <ac:spMk id="3" creationId="{D9C9ACA2-A3AE-D6EF-CC33-B149455093C7}"/>
          </ac:spMkLst>
        </pc:spChg>
        <pc:spChg chg="mod">
          <ac:chgData name="Miraj Sinya" userId="a6e95797-5893-4261-9f10-8f81f198df75" providerId="ADAL" clId="{53F80C9B-833D-4693-AFD3-13DDAF0ECA52}" dt="2023-11-15T03:48:03.661" v="10170" actId="1076"/>
          <ac:spMkLst>
            <pc:docMk/>
            <pc:sldMk cId="2705744719" sldId="622"/>
            <ac:spMk id="7" creationId="{A29DD16F-C434-F01B-B19D-AAD93C5C2D57}"/>
          </ac:spMkLst>
        </pc:spChg>
      </pc:sldChg>
      <pc:sldChg chg="addSp delSp modSp mod">
        <pc:chgData name="Miraj Sinya" userId="a6e95797-5893-4261-9f10-8f81f198df75" providerId="ADAL" clId="{53F80C9B-833D-4693-AFD3-13DDAF0ECA52}" dt="2023-11-15T03:28:55.970" v="9966" actId="207"/>
        <pc:sldMkLst>
          <pc:docMk/>
          <pc:sldMk cId="1184884871" sldId="639"/>
        </pc:sldMkLst>
        <pc:spChg chg="mod">
          <ac:chgData name="Miraj Sinya" userId="a6e95797-5893-4261-9f10-8f81f198df75" providerId="ADAL" clId="{53F80C9B-833D-4693-AFD3-13DDAF0ECA52}" dt="2023-11-14T05:46:26.977" v="3818" actId="20577"/>
          <ac:spMkLst>
            <pc:docMk/>
            <pc:sldMk cId="1184884871" sldId="639"/>
            <ac:spMk id="3" creationId="{B86EE26B-A320-1117-C533-672582AFE7DA}"/>
          </ac:spMkLst>
        </pc:spChg>
        <pc:spChg chg="mod">
          <ac:chgData name="Miraj Sinya" userId="a6e95797-5893-4261-9f10-8f81f198df75" providerId="ADAL" clId="{53F80C9B-833D-4693-AFD3-13DDAF0ECA52}" dt="2023-11-14T01:21:09.186" v="43" actId="165"/>
          <ac:spMkLst>
            <pc:docMk/>
            <pc:sldMk cId="1184884871" sldId="639"/>
            <ac:spMk id="18" creationId="{4CDD7EDA-8C8C-AD0F-5282-86227D3C00F5}"/>
          </ac:spMkLst>
        </pc:spChg>
        <pc:spChg chg="mod">
          <ac:chgData name="Miraj Sinya" userId="a6e95797-5893-4261-9f10-8f81f198df75" providerId="ADAL" clId="{53F80C9B-833D-4693-AFD3-13DDAF0ECA52}" dt="2023-11-15T03:28:55.970" v="9966" actId="207"/>
          <ac:spMkLst>
            <pc:docMk/>
            <pc:sldMk cId="1184884871" sldId="639"/>
            <ac:spMk id="19" creationId="{FB22A53D-A04E-4953-5B43-167D0D623473}"/>
          </ac:spMkLst>
        </pc:spChg>
        <pc:spChg chg="mod">
          <ac:chgData name="Miraj Sinya" userId="a6e95797-5893-4261-9f10-8f81f198df75" providerId="ADAL" clId="{53F80C9B-833D-4693-AFD3-13DDAF0ECA52}" dt="2023-11-14T01:21:09.186" v="43" actId="165"/>
          <ac:spMkLst>
            <pc:docMk/>
            <pc:sldMk cId="1184884871" sldId="639"/>
            <ac:spMk id="65" creationId="{19FB53DD-2BE0-784B-C9F2-ABD840A0A42C}"/>
          </ac:spMkLst>
        </pc:spChg>
        <pc:spChg chg="mod">
          <ac:chgData name="Miraj Sinya" userId="a6e95797-5893-4261-9f10-8f81f198df75" providerId="ADAL" clId="{53F80C9B-833D-4693-AFD3-13DDAF0ECA52}" dt="2023-11-14T01:21:09.186" v="43" actId="165"/>
          <ac:spMkLst>
            <pc:docMk/>
            <pc:sldMk cId="1184884871" sldId="639"/>
            <ac:spMk id="68" creationId="{38E2F3B4-794A-839E-7C5C-817CAA46D817}"/>
          </ac:spMkLst>
        </pc:spChg>
        <pc:spChg chg="mod">
          <ac:chgData name="Miraj Sinya" userId="a6e95797-5893-4261-9f10-8f81f198df75" providerId="ADAL" clId="{53F80C9B-833D-4693-AFD3-13DDAF0ECA52}" dt="2023-11-14T01:21:09.186" v="43" actId="165"/>
          <ac:spMkLst>
            <pc:docMk/>
            <pc:sldMk cId="1184884871" sldId="639"/>
            <ac:spMk id="72" creationId="{C5A03A19-CCC4-1619-1E8F-7BFA37864BC2}"/>
          </ac:spMkLst>
        </pc:spChg>
        <pc:spChg chg="mod">
          <ac:chgData name="Miraj Sinya" userId="a6e95797-5893-4261-9f10-8f81f198df75" providerId="ADAL" clId="{53F80C9B-833D-4693-AFD3-13DDAF0ECA52}" dt="2023-11-14T01:21:09.186" v="43" actId="165"/>
          <ac:spMkLst>
            <pc:docMk/>
            <pc:sldMk cId="1184884871" sldId="639"/>
            <ac:spMk id="73" creationId="{0B0CFEFC-3C64-163A-6E06-35182CF99097}"/>
          </ac:spMkLst>
        </pc:spChg>
        <pc:spChg chg="mod">
          <ac:chgData name="Miraj Sinya" userId="a6e95797-5893-4261-9f10-8f81f198df75" providerId="ADAL" clId="{53F80C9B-833D-4693-AFD3-13DDAF0ECA52}" dt="2023-11-14T01:21:09.186" v="43" actId="165"/>
          <ac:spMkLst>
            <pc:docMk/>
            <pc:sldMk cId="1184884871" sldId="639"/>
            <ac:spMk id="75" creationId="{EDE135B7-BE7D-C471-8D4B-C552FBE8878B}"/>
          </ac:spMkLst>
        </pc:spChg>
        <pc:spChg chg="mod">
          <ac:chgData name="Miraj Sinya" userId="a6e95797-5893-4261-9f10-8f81f198df75" providerId="ADAL" clId="{53F80C9B-833D-4693-AFD3-13DDAF0ECA52}" dt="2023-11-14T01:21:09.186" v="43" actId="165"/>
          <ac:spMkLst>
            <pc:docMk/>
            <pc:sldMk cId="1184884871" sldId="639"/>
            <ac:spMk id="76" creationId="{AD95EA41-F21D-88C3-4FEC-A3E90B1A483D}"/>
          </ac:spMkLst>
        </pc:spChg>
        <pc:spChg chg="mod">
          <ac:chgData name="Miraj Sinya" userId="a6e95797-5893-4261-9f10-8f81f198df75" providerId="ADAL" clId="{53F80C9B-833D-4693-AFD3-13DDAF0ECA52}" dt="2023-11-14T01:21:09.186" v="43" actId="165"/>
          <ac:spMkLst>
            <pc:docMk/>
            <pc:sldMk cId="1184884871" sldId="639"/>
            <ac:spMk id="77" creationId="{8D17EDA9-1791-E364-7E75-1AB06709E60E}"/>
          </ac:spMkLst>
        </pc:spChg>
        <pc:spChg chg="mod">
          <ac:chgData name="Miraj Sinya" userId="a6e95797-5893-4261-9f10-8f81f198df75" providerId="ADAL" clId="{53F80C9B-833D-4693-AFD3-13DDAF0ECA52}" dt="2023-11-14T01:21:09.186" v="43" actId="165"/>
          <ac:spMkLst>
            <pc:docMk/>
            <pc:sldMk cId="1184884871" sldId="639"/>
            <ac:spMk id="81" creationId="{22276677-B73D-A8E3-7DC8-729041EF94B9}"/>
          </ac:spMkLst>
        </pc:spChg>
        <pc:spChg chg="mod">
          <ac:chgData name="Miraj Sinya" userId="a6e95797-5893-4261-9f10-8f81f198df75" providerId="ADAL" clId="{53F80C9B-833D-4693-AFD3-13DDAF0ECA52}" dt="2023-11-14T01:21:09.186" v="43" actId="165"/>
          <ac:spMkLst>
            <pc:docMk/>
            <pc:sldMk cId="1184884871" sldId="639"/>
            <ac:spMk id="82" creationId="{A3D82430-26B0-9A33-318E-E220A859D2CA}"/>
          </ac:spMkLst>
        </pc:spChg>
        <pc:spChg chg="mod">
          <ac:chgData name="Miraj Sinya" userId="a6e95797-5893-4261-9f10-8f81f198df75" providerId="ADAL" clId="{53F80C9B-833D-4693-AFD3-13DDAF0ECA52}" dt="2023-11-14T01:21:09.186" v="43" actId="165"/>
          <ac:spMkLst>
            <pc:docMk/>
            <pc:sldMk cId="1184884871" sldId="639"/>
            <ac:spMk id="83" creationId="{E69D2F4D-E174-6CE4-C159-2CC695BC965D}"/>
          </ac:spMkLst>
        </pc:spChg>
        <pc:spChg chg="mod">
          <ac:chgData name="Miraj Sinya" userId="a6e95797-5893-4261-9f10-8f81f198df75" providerId="ADAL" clId="{53F80C9B-833D-4693-AFD3-13DDAF0ECA52}" dt="2023-11-14T01:21:09.186" v="43" actId="165"/>
          <ac:spMkLst>
            <pc:docMk/>
            <pc:sldMk cId="1184884871" sldId="639"/>
            <ac:spMk id="87" creationId="{9CE86D58-3AB2-14A4-3D70-36B4FFFB06A7}"/>
          </ac:spMkLst>
        </pc:spChg>
        <pc:spChg chg="mod">
          <ac:chgData name="Miraj Sinya" userId="a6e95797-5893-4261-9f10-8f81f198df75" providerId="ADAL" clId="{53F80C9B-833D-4693-AFD3-13DDAF0ECA52}" dt="2023-11-14T01:21:09.186" v="43" actId="165"/>
          <ac:spMkLst>
            <pc:docMk/>
            <pc:sldMk cId="1184884871" sldId="639"/>
            <ac:spMk id="91" creationId="{82382FF4-2D98-61AF-23AD-8637E0328A91}"/>
          </ac:spMkLst>
        </pc:spChg>
        <pc:spChg chg="mod">
          <ac:chgData name="Miraj Sinya" userId="a6e95797-5893-4261-9f10-8f81f198df75" providerId="ADAL" clId="{53F80C9B-833D-4693-AFD3-13DDAF0ECA52}" dt="2023-11-14T01:21:09.186" v="43" actId="165"/>
          <ac:spMkLst>
            <pc:docMk/>
            <pc:sldMk cId="1184884871" sldId="639"/>
            <ac:spMk id="150" creationId="{A5E22513-E0B5-602E-5BF7-9227A660CDFE}"/>
          </ac:spMkLst>
        </pc:spChg>
        <pc:spChg chg="mod">
          <ac:chgData name="Miraj Sinya" userId="a6e95797-5893-4261-9f10-8f81f198df75" providerId="ADAL" clId="{53F80C9B-833D-4693-AFD3-13DDAF0ECA52}" dt="2023-11-14T01:21:09.186" v="43" actId="165"/>
          <ac:spMkLst>
            <pc:docMk/>
            <pc:sldMk cId="1184884871" sldId="639"/>
            <ac:spMk id="151" creationId="{59EC0D48-6E66-6486-3940-42FC69C6C9E6}"/>
          </ac:spMkLst>
        </pc:spChg>
        <pc:spChg chg="mod">
          <ac:chgData name="Miraj Sinya" userId="a6e95797-5893-4261-9f10-8f81f198df75" providerId="ADAL" clId="{53F80C9B-833D-4693-AFD3-13DDAF0ECA52}" dt="2023-11-14T01:21:09.186" v="43" actId="165"/>
          <ac:spMkLst>
            <pc:docMk/>
            <pc:sldMk cId="1184884871" sldId="639"/>
            <ac:spMk id="152" creationId="{E905CD92-8C9C-21DA-EE2A-2CCC303FCFCC}"/>
          </ac:spMkLst>
        </pc:spChg>
        <pc:spChg chg="mod">
          <ac:chgData name="Miraj Sinya" userId="a6e95797-5893-4261-9f10-8f81f198df75" providerId="ADAL" clId="{53F80C9B-833D-4693-AFD3-13DDAF0ECA52}" dt="2023-11-14T01:21:09.186" v="43" actId="165"/>
          <ac:spMkLst>
            <pc:docMk/>
            <pc:sldMk cId="1184884871" sldId="639"/>
            <ac:spMk id="153" creationId="{00263202-ED11-1BD2-9B0B-E0DD12A07A8E}"/>
          </ac:spMkLst>
        </pc:spChg>
        <pc:spChg chg="mod">
          <ac:chgData name="Miraj Sinya" userId="a6e95797-5893-4261-9f10-8f81f198df75" providerId="ADAL" clId="{53F80C9B-833D-4693-AFD3-13DDAF0ECA52}" dt="2023-11-14T01:21:09.186" v="43" actId="165"/>
          <ac:spMkLst>
            <pc:docMk/>
            <pc:sldMk cId="1184884871" sldId="639"/>
            <ac:spMk id="154" creationId="{3A16C758-CB51-7FA6-8B4D-1F115B6995EE}"/>
          </ac:spMkLst>
        </pc:spChg>
        <pc:spChg chg="mod">
          <ac:chgData name="Miraj Sinya" userId="a6e95797-5893-4261-9f10-8f81f198df75" providerId="ADAL" clId="{53F80C9B-833D-4693-AFD3-13DDAF0ECA52}" dt="2023-11-14T01:21:09.186" v="43" actId="165"/>
          <ac:spMkLst>
            <pc:docMk/>
            <pc:sldMk cId="1184884871" sldId="639"/>
            <ac:spMk id="155" creationId="{0C94BDB0-4843-CB06-A087-4BFE849D4225}"/>
          </ac:spMkLst>
        </pc:spChg>
        <pc:spChg chg="mod">
          <ac:chgData name="Miraj Sinya" userId="a6e95797-5893-4261-9f10-8f81f198df75" providerId="ADAL" clId="{53F80C9B-833D-4693-AFD3-13DDAF0ECA52}" dt="2023-11-14T01:21:09.186" v="43" actId="165"/>
          <ac:spMkLst>
            <pc:docMk/>
            <pc:sldMk cId="1184884871" sldId="639"/>
            <ac:spMk id="156" creationId="{E6F5E276-A1BA-844D-C844-2ABABE474C8F}"/>
          </ac:spMkLst>
        </pc:spChg>
        <pc:spChg chg="mod">
          <ac:chgData name="Miraj Sinya" userId="a6e95797-5893-4261-9f10-8f81f198df75" providerId="ADAL" clId="{53F80C9B-833D-4693-AFD3-13DDAF0ECA52}" dt="2023-11-14T01:21:09.186" v="43" actId="165"/>
          <ac:spMkLst>
            <pc:docMk/>
            <pc:sldMk cId="1184884871" sldId="639"/>
            <ac:spMk id="157" creationId="{9989F204-332A-7015-0462-3468051FDD75}"/>
          </ac:spMkLst>
        </pc:spChg>
        <pc:spChg chg="mod">
          <ac:chgData name="Miraj Sinya" userId="a6e95797-5893-4261-9f10-8f81f198df75" providerId="ADAL" clId="{53F80C9B-833D-4693-AFD3-13DDAF0ECA52}" dt="2023-11-14T01:21:09.186" v="43" actId="165"/>
          <ac:spMkLst>
            <pc:docMk/>
            <pc:sldMk cId="1184884871" sldId="639"/>
            <ac:spMk id="160" creationId="{A410AEC4-AB8F-8044-0CFB-02809AF044CA}"/>
          </ac:spMkLst>
        </pc:spChg>
        <pc:spChg chg="mod">
          <ac:chgData name="Miraj Sinya" userId="a6e95797-5893-4261-9f10-8f81f198df75" providerId="ADAL" clId="{53F80C9B-833D-4693-AFD3-13DDAF0ECA52}" dt="2023-11-14T01:21:09.186" v="43" actId="165"/>
          <ac:spMkLst>
            <pc:docMk/>
            <pc:sldMk cId="1184884871" sldId="639"/>
            <ac:spMk id="164" creationId="{B6EC403A-8615-33F2-720E-524F42A21727}"/>
          </ac:spMkLst>
        </pc:spChg>
        <pc:spChg chg="mod">
          <ac:chgData name="Miraj Sinya" userId="a6e95797-5893-4261-9f10-8f81f198df75" providerId="ADAL" clId="{53F80C9B-833D-4693-AFD3-13DDAF0ECA52}" dt="2023-11-14T01:21:09.186" v="43" actId="165"/>
          <ac:spMkLst>
            <pc:docMk/>
            <pc:sldMk cId="1184884871" sldId="639"/>
            <ac:spMk id="165" creationId="{4492B261-50C0-D6B6-3C27-A8C404EF0D80}"/>
          </ac:spMkLst>
        </pc:spChg>
        <pc:spChg chg="mod">
          <ac:chgData name="Miraj Sinya" userId="a6e95797-5893-4261-9f10-8f81f198df75" providerId="ADAL" clId="{53F80C9B-833D-4693-AFD3-13DDAF0ECA52}" dt="2023-11-14T01:21:09.186" v="43" actId="165"/>
          <ac:spMkLst>
            <pc:docMk/>
            <pc:sldMk cId="1184884871" sldId="639"/>
            <ac:spMk id="176" creationId="{077EFBB0-D5A1-CB2B-C8A6-808F5D826300}"/>
          </ac:spMkLst>
        </pc:spChg>
        <pc:spChg chg="mod">
          <ac:chgData name="Miraj Sinya" userId="a6e95797-5893-4261-9f10-8f81f198df75" providerId="ADAL" clId="{53F80C9B-833D-4693-AFD3-13DDAF0ECA52}" dt="2023-11-14T01:21:09.186" v="43" actId="165"/>
          <ac:spMkLst>
            <pc:docMk/>
            <pc:sldMk cId="1184884871" sldId="639"/>
            <ac:spMk id="177" creationId="{210180B1-B554-9EBB-06F0-3333EBE6CE6D}"/>
          </ac:spMkLst>
        </pc:spChg>
        <pc:spChg chg="mod">
          <ac:chgData name="Miraj Sinya" userId="a6e95797-5893-4261-9f10-8f81f198df75" providerId="ADAL" clId="{53F80C9B-833D-4693-AFD3-13DDAF0ECA52}" dt="2023-11-14T01:21:09.186" v="43" actId="165"/>
          <ac:spMkLst>
            <pc:docMk/>
            <pc:sldMk cId="1184884871" sldId="639"/>
            <ac:spMk id="178" creationId="{80D6E062-C375-271D-1578-0EBC9A65C60D}"/>
          </ac:spMkLst>
        </pc:spChg>
        <pc:spChg chg="mod topLvl">
          <ac:chgData name="Miraj Sinya" userId="a6e95797-5893-4261-9f10-8f81f198df75" providerId="ADAL" clId="{53F80C9B-833D-4693-AFD3-13DDAF0ECA52}" dt="2023-11-14T05:40:22.474" v="3784" actId="6549"/>
          <ac:spMkLst>
            <pc:docMk/>
            <pc:sldMk cId="1184884871" sldId="639"/>
            <ac:spMk id="180" creationId="{95940763-A564-F709-E711-242503887749}"/>
          </ac:spMkLst>
        </pc:spChg>
        <pc:spChg chg="mod topLvl">
          <ac:chgData name="Miraj Sinya" userId="a6e95797-5893-4261-9f10-8f81f198df75" providerId="ADAL" clId="{53F80C9B-833D-4693-AFD3-13DDAF0ECA52}" dt="2023-11-14T01:21:09.186" v="43" actId="165"/>
          <ac:spMkLst>
            <pc:docMk/>
            <pc:sldMk cId="1184884871" sldId="639"/>
            <ac:spMk id="182" creationId="{51C8A7FA-5244-0BC6-60A6-35E3B11C47ED}"/>
          </ac:spMkLst>
        </pc:spChg>
        <pc:spChg chg="mod topLvl">
          <ac:chgData name="Miraj Sinya" userId="a6e95797-5893-4261-9f10-8f81f198df75" providerId="ADAL" clId="{53F80C9B-833D-4693-AFD3-13DDAF0ECA52}" dt="2023-11-14T01:21:09.186" v="43" actId="165"/>
          <ac:spMkLst>
            <pc:docMk/>
            <pc:sldMk cId="1184884871" sldId="639"/>
            <ac:spMk id="183" creationId="{5D2E0A6F-11DF-3897-5C03-9983CE659E97}"/>
          </ac:spMkLst>
        </pc:spChg>
        <pc:spChg chg="mod topLvl">
          <ac:chgData name="Miraj Sinya" userId="a6e95797-5893-4261-9f10-8f81f198df75" providerId="ADAL" clId="{53F80C9B-833D-4693-AFD3-13DDAF0ECA52}" dt="2023-11-14T01:21:09.186" v="43" actId="165"/>
          <ac:spMkLst>
            <pc:docMk/>
            <pc:sldMk cId="1184884871" sldId="639"/>
            <ac:spMk id="185" creationId="{5E02C9B9-8341-368A-0C3F-F3E9D772930E}"/>
          </ac:spMkLst>
        </pc:spChg>
        <pc:spChg chg="mod topLvl">
          <ac:chgData name="Miraj Sinya" userId="a6e95797-5893-4261-9f10-8f81f198df75" providerId="ADAL" clId="{53F80C9B-833D-4693-AFD3-13DDAF0ECA52}" dt="2023-11-14T01:21:09.186" v="43" actId="165"/>
          <ac:spMkLst>
            <pc:docMk/>
            <pc:sldMk cId="1184884871" sldId="639"/>
            <ac:spMk id="186" creationId="{D90A5ECD-B91D-F5A7-FD68-249BDD6C3E3C}"/>
          </ac:spMkLst>
        </pc:spChg>
        <pc:grpChg chg="add del mod">
          <ac:chgData name="Miraj Sinya" userId="a6e95797-5893-4261-9f10-8f81f198df75" providerId="ADAL" clId="{53F80C9B-833D-4693-AFD3-13DDAF0ECA52}" dt="2023-11-14T01:21:09.186" v="43" actId="165"/>
          <ac:grpSpMkLst>
            <pc:docMk/>
            <pc:sldMk cId="1184884871" sldId="639"/>
            <ac:grpSpMk id="4" creationId="{F0206A45-0084-4A34-62B8-AF4FE8505641}"/>
          </ac:grpSpMkLst>
        </pc:grpChg>
        <pc:grpChg chg="mod topLvl">
          <ac:chgData name="Miraj Sinya" userId="a6e95797-5893-4261-9f10-8f81f198df75" providerId="ADAL" clId="{53F80C9B-833D-4693-AFD3-13DDAF0ECA52}" dt="2023-11-14T01:21:09.186" v="43" actId="165"/>
          <ac:grpSpMkLst>
            <pc:docMk/>
            <pc:sldMk cId="1184884871" sldId="639"/>
            <ac:grpSpMk id="64" creationId="{94A6FC51-2A6A-C64C-F560-E7EF57104345}"/>
          </ac:grpSpMkLst>
        </pc:grpChg>
        <pc:grpChg chg="mod topLvl">
          <ac:chgData name="Miraj Sinya" userId="a6e95797-5893-4261-9f10-8f81f198df75" providerId="ADAL" clId="{53F80C9B-833D-4693-AFD3-13DDAF0ECA52}" dt="2023-11-14T01:21:09.186" v="43" actId="165"/>
          <ac:grpSpMkLst>
            <pc:docMk/>
            <pc:sldMk cId="1184884871" sldId="639"/>
            <ac:grpSpMk id="67" creationId="{4E32D611-33D6-3F43-CD96-33E3B70382CE}"/>
          </ac:grpSpMkLst>
        </pc:grpChg>
        <pc:grpChg chg="mod">
          <ac:chgData name="Miraj Sinya" userId="a6e95797-5893-4261-9f10-8f81f198df75" providerId="ADAL" clId="{53F80C9B-833D-4693-AFD3-13DDAF0ECA52}" dt="2023-11-14T01:21:09.186" v="43" actId="165"/>
          <ac:grpSpMkLst>
            <pc:docMk/>
            <pc:sldMk cId="1184884871" sldId="639"/>
            <ac:grpSpMk id="88" creationId="{DC08EE69-E367-0C46-DF10-C36B54A04099}"/>
          </ac:grpSpMkLst>
        </pc:grpChg>
        <pc:grpChg chg="mod">
          <ac:chgData name="Miraj Sinya" userId="a6e95797-5893-4261-9f10-8f81f198df75" providerId="ADAL" clId="{53F80C9B-833D-4693-AFD3-13DDAF0ECA52}" dt="2023-11-14T01:21:09.186" v="43" actId="165"/>
          <ac:grpSpMkLst>
            <pc:docMk/>
            <pc:sldMk cId="1184884871" sldId="639"/>
            <ac:grpSpMk id="89" creationId="{672F88F4-A753-8A84-C502-97AD13E7CF3A}"/>
          </ac:grpSpMkLst>
        </pc:grpChg>
        <pc:grpChg chg="mod">
          <ac:chgData name="Miraj Sinya" userId="a6e95797-5893-4261-9f10-8f81f198df75" providerId="ADAL" clId="{53F80C9B-833D-4693-AFD3-13DDAF0ECA52}" dt="2023-11-14T01:21:09.186" v="43" actId="165"/>
          <ac:grpSpMkLst>
            <pc:docMk/>
            <pc:sldMk cId="1184884871" sldId="639"/>
            <ac:grpSpMk id="173" creationId="{9C0B038B-2935-990C-C1C4-A4BC34754D75}"/>
          </ac:grpSpMkLst>
        </pc:grpChg>
        <pc:grpChg chg="mod">
          <ac:chgData name="Miraj Sinya" userId="a6e95797-5893-4261-9f10-8f81f198df75" providerId="ADAL" clId="{53F80C9B-833D-4693-AFD3-13DDAF0ECA52}" dt="2023-11-14T01:21:09.186" v="43" actId="165"/>
          <ac:grpSpMkLst>
            <pc:docMk/>
            <pc:sldMk cId="1184884871" sldId="639"/>
            <ac:grpSpMk id="174" creationId="{09C30D20-212D-B318-5B07-33FB0A47006F}"/>
          </ac:grpSpMkLst>
        </pc:grpChg>
        <pc:grpChg chg="mod">
          <ac:chgData name="Miraj Sinya" userId="a6e95797-5893-4261-9f10-8f81f198df75" providerId="ADAL" clId="{53F80C9B-833D-4693-AFD3-13DDAF0ECA52}" dt="2023-11-14T01:21:09.186" v="43" actId="165"/>
          <ac:grpSpMkLst>
            <pc:docMk/>
            <pc:sldMk cId="1184884871" sldId="639"/>
            <ac:grpSpMk id="175" creationId="{268D5AD8-67AD-AE21-9260-0DF8BDDC3BE0}"/>
          </ac:grpSpMkLst>
        </pc:grpChg>
        <pc:grpChg chg="mod">
          <ac:chgData name="Miraj Sinya" userId="a6e95797-5893-4261-9f10-8f81f198df75" providerId="ADAL" clId="{53F80C9B-833D-4693-AFD3-13DDAF0ECA52}" dt="2023-11-14T01:21:09.186" v="43" actId="165"/>
          <ac:grpSpMkLst>
            <pc:docMk/>
            <pc:sldMk cId="1184884871" sldId="639"/>
            <ac:grpSpMk id="187" creationId="{5E01B596-B17A-7E8E-19DC-AB8DCCBA3093}"/>
          </ac:grpSpMkLst>
        </pc:grpChg>
        <pc:grpChg chg="mod topLvl">
          <ac:chgData name="Miraj Sinya" userId="a6e95797-5893-4261-9f10-8f81f198df75" providerId="ADAL" clId="{53F80C9B-833D-4693-AFD3-13DDAF0ECA52}" dt="2023-11-14T01:21:09.186" v="43" actId="165"/>
          <ac:grpSpMkLst>
            <pc:docMk/>
            <pc:sldMk cId="1184884871" sldId="639"/>
            <ac:grpSpMk id="189" creationId="{21E4AE07-19DF-13FB-C2CC-B69A16EFA3B0}"/>
          </ac:grpSpMkLst>
        </pc:grpChg>
        <pc:cxnChg chg="mod">
          <ac:chgData name="Miraj Sinya" userId="a6e95797-5893-4261-9f10-8f81f198df75" providerId="ADAL" clId="{53F80C9B-833D-4693-AFD3-13DDAF0ECA52}" dt="2023-11-14T01:21:09.186" v="43" actId="165"/>
          <ac:cxnSpMkLst>
            <pc:docMk/>
            <pc:sldMk cId="1184884871" sldId="639"/>
            <ac:cxnSpMk id="9" creationId="{0BCFCE62-4CD6-B52E-1F5F-1BCD157AAE9D}"/>
          </ac:cxnSpMkLst>
        </pc:cxnChg>
        <pc:cxnChg chg="mod">
          <ac:chgData name="Miraj Sinya" userId="a6e95797-5893-4261-9f10-8f81f198df75" providerId="ADAL" clId="{53F80C9B-833D-4693-AFD3-13DDAF0ECA52}" dt="2023-11-14T01:21:09.186" v="43" actId="165"/>
          <ac:cxnSpMkLst>
            <pc:docMk/>
            <pc:sldMk cId="1184884871" sldId="639"/>
            <ac:cxnSpMk id="66" creationId="{94743F69-DEC8-4422-7B57-C74BB4DF2807}"/>
          </ac:cxnSpMkLst>
        </pc:cxnChg>
        <pc:cxnChg chg="mod">
          <ac:chgData name="Miraj Sinya" userId="a6e95797-5893-4261-9f10-8f81f198df75" providerId="ADAL" clId="{53F80C9B-833D-4693-AFD3-13DDAF0ECA52}" dt="2023-11-14T01:21:09.186" v="43" actId="165"/>
          <ac:cxnSpMkLst>
            <pc:docMk/>
            <pc:sldMk cId="1184884871" sldId="639"/>
            <ac:cxnSpMk id="69" creationId="{C50DC758-8E57-DFFB-E8C3-1AC71CF76ADD}"/>
          </ac:cxnSpMkLst>
        </pc:cxnChg>
        <pc:cxnChg chg="mod">
          <ac:chgData name="Miraj Sinya" userId="a6e95797-5893-4261-9f10-8f81f198df75" providerId="ADAL" clId="{53F80C9B-833D-4693-AFD3-13DDAF0ECA52}" dt="2023-11-14T01:21:09.186" v="43" actId="165"/>
          <ac:cxnSpMkLst>
            <pc:docMk/>
            <pc:sldMk cId="1184884871" sldId="639"/>
            <ac:cxnSpMk id="79" creationId="{07CA3999-76A8-293F-4A35-705987BB9150}"/>
          </ac:cxnSpMkLst>
        </pc:cxnChg>
        <pc:cxnChg chg="mod">
          <ac:chgData name="Miraj Sinya" userId="a6e95797-5893-4261-9f10-8f81f198df75" providerId="ADAL" clId="{53F80C9B-833D-4693-AFD3-13DDAF0ECA52}" dt="2023-11-14T01:21:09.186" v="43" actId="165"/>
          <ac:cxnSpMkLst>
            <pc:docMk/>
            <pc:sldMk cId="1184884871" sldId="639"/>
            <ac:cxnSpMk id="96" creationId="{BC4817FE-527C-1E11-DD37-AA896560A66E}"/>
          </ac:cxnSpMkLst>
        </pc:cxnChg>
        <pc:cxnChg chg="mod">
          <ac:chgData name="Miraj Sinya" userId="a6e95797-5893-4261-9f10-8f81f198df75" providerId="ADAL" clId="{53F80C9B-833D-4693-AFD3-13DDAF0ECA52}" dt="2023-11-14T01:21:09.186" v="43" actId="165"/>
          <ac:cxnSpMkLst>
            <pc:docMk/>
            <pc:sldMk cId="1184884871" sldId="639"/>
            <ac:cxnSpMk id="99" creationId="{AEFE3441-2E99-F5EB-CED5-AC6CD0DEB805}"/>
          </ac:cxnSpMkLst>
        </pc:cxnChg>
        <pc:cxnChg chg="mod">
          <ac:chgData name="Miraj Sinya" userId="a6e95797-5893-4261-9f10-8f81f198df75" providerId="ADAL" clId="{53F80C9B-833D-4693-AFD3-13DDAF0ECA52}" dt="2023-11-14T01:21:09.186" v="43" actId="165"/>
          <ac:cxnSpMkLst>
            <pc:docMk/>
            <pc:sldMk cId="1184884871" sldId="639"/>
            <ac:cxnSpMk id="115" creationId="{EE6272F7-FF09-7412-45AA-432F4B44B119}"/>
          </ac:cxnSpMkLst>
        </pc:cxnChg>
        <pc:cxnChg chg="mod">
          <ac:chgData name="Miraj Sinya" userId="a6e95797-5893-4261-9f10-8f81f198df75" providerId="ADAL" clId="{53F80C9B-833D-4693-AFD3-13DDAF0ECA52}" dt="2023-11-14T01:21:09.186" v="43" actId="165"/>
          <ac:cxnSpMkLst>
            <pc:docMk/>
            <pc:sldMk cId="1184884871" sldId="639"/>
            <ac:cxnSpMk id="119" creationId="{7FAFAB20-2A9F-E8ED-6BF1-DCC355039EED}"/>
          </ac:cxnSpMkLst>
        </pc:cxnChg>
        <pc:cxnChg chg="mod">
          <ac:chgData name="Miraj Sinya" userId="a6e95797-5893-4261-9f10-8f81f198df75" providerId="ADAL" clId="{53F80C9B-833D-4693-AFD3-13DDAF0ECA52}" dt="2023-11-14T01:21:09.186" v="43" actId="165"/>
          <ac:cxnSpMkLst>
            <pc:docMk/>
            <pc:sldMk cId="1184884871" sldId="639"/>
            <ac:cxnSpMk id="163" creationId="{28727743-CAB9-6CC4-3971-6BA29088A6D4}"/>
          </ac:cxnSpMkLst>
        </pc:cxnChg>
        <pc:cxnChg chg="mod">
          <ac:chgData name="Miraj Sinya" userId="a6e95797-5893-4261-9f10-8f81f198df75" providerId="ADAL" clId="{53F80C9B-833D-4693-AFD3-13DDAF0ECA52}" dt="2023-11-14T01:21:09.186" v="43" actId="165"/>
          <ac:cxnSpMkLst>
            <pc:docMk/>
            <pc:sldMk cId="1184884871" sldId="639"/>
            <ac:cxnSpMk id="166" creationId="{80EEEA00-EBA0-A7E0-B49F-04E88C965F10}"/>
          </ac:cxnSpMkLst>
        </pc:cxnChg>
        <pc:cxnChg chg="mod">
          <ac:chgData name="Miraj Sinya" userId="a6e95797-5893-4261-9f10-8f81f198df75" providerId="ADAL" clId="{53F80C9B-833D-4693-AFD3-13DDAF0ECA52}" dt="2023-11-14T01:21:09.186" v="43" actId="165"/>
          <ac:cxnSpMkLst>
            <pc:docMk/>
            <pc:sldMk cId="1184884871" sldId="639"/>
            <ac:cxnSpMk id="167" creationId="{3D6BBCD9-FF01-0806-1029-B62D16915B12}"/>
          </ac:cxnSpMkLst>
        </pc:cxnChg>
        <pc:cxnChg chg="mod">
          <ac:chgData name="Miraj Sinya" userId="a6e95797-5893-4261-9f10-8f81f198df75" providerId="ADAL" clId="{53F80C9B-833D-4693-AFD3-13DDAF0ECA52}" dt="2023-11-14T01:21:09.186" v="43" actId="165"/>
          <ac:cxnSpMkLst>
            <pc:docMk/>
            <pc:sldMk cId="1184884871" sldId="639"/>
            <ac:cxnSpMk id="169" creationId="{CA3376D2-307E-C248-25EB-9E897CCBBB94}"/>
          </ac:cxnSpMkLst>
        </pc:cxnChg>
        <pc:cxnChg chg="mod topLvl">
          <ac:chgData name="Miraj Sinya" userId="a6e95797-5893-4261-9f10-8f81f198df75" providerId="ADAL" clId="{53F80C9B-833D-4693-AFD3-13DDAF0ECA52}" dt="2023-11-14T01:21:09.186" v="43" actId="165"/>
          <ac:cxnSpMkLst>
            <pc:docMk/>
            <pc:sldMk cId="1184884871" sldId="639"/>
            <ac:cxnSpMk id="184" creationId="{23EA5641-407F-F6F1-740B-2C78A8C9BE95}"/>
          </ac:cxnSpMkLst>
        </pc:cxnChg>
      </pc:sldChg>
      <pc:sldChg chg="addSp delSp modSp mod">
        <pc:chgData name="Miraj Sinya" userId="a6e95797-5893-4261-9f10-8f81f198df75" providerId="ADAL" clId="{53F80C9B-833D-4693-AFD3-13DDAF0ECA52}" dt="2023-11-15T03:29:00.705" v="9967" actId="207"/>
        <pc:sldMkLst>
          <pc:docMk/>
          <pc:sldMk cId="2997694625" sldId="641"/>
        </pc:sldMkLst>
        <pc:spChg chg="mod">
          <ac:chgData name="Miraj Sinya" userId="a6e95797-5893-4261-9f10-8f81f198df75" providerId="ADAL" clId="{53F80C9B-833D-4693-AFD3-13DDAF0ECA52}" dt="2023-11-15T02:34:41.450" v="8913" actId="14100"/>
          <ac:spMkLst>
            <pc:docMk/>
            <pc:sldMk cId="2997694625" sldId="641"/>
            <ac:spMk id="3" creationId="{B86EE26B-A320-1117-C533-672582AFE7DA}"/>
          </ac:spMkLst>
        </pc:spChg>
        <pc:spChg chg="mod">
          <ac:chgData name="Miraj Sinya" userId="a6e95797-5893-4261-9f10-8f81f198df75" providerId="ADAL" clId="{53F80C9B-833D-4693-AFD3-13DDAF0ECA52}" dt="2023-11-14T01:20:43.209" v="38" actId="165"/>
          <ac:spMkLst>
            <pc:docMk/>
            <pc:sldMk cId="2997694625" sldId="641"/>
            <ac:spMk id="4" creationId="{6BCDE966-E97A-791B-8865-231AF678F16A}"/>
          </ac:spMkLst>
        </pc:spChg>
        <pc:spChg chg="add del mod topLvl">
          <ac:chgData name="Miraj Sinya" userId="a6e95797-5893-4261-9f10-8f81f198df75" providerId="ADAL" clId="{53F80C9B-833D-4693-AFD3-13DDAF0ECA52}" dt="2023-11-14T05:40:29.468" v="3785" actId="478"/>
          <ac:spMkLst>
            <pc:docMk/>
            <pc:sldMk cId="2997694625" sldId="641"/>
            <ac:spMk id="5" creationId="{1B169743-6B11-719E-14F5-C8086514BCA9}"/>
          </ac:spMkLst>
        </pc:spChg>
        <pc:spChg chg="add mod">
          <ac:chgData name="Miraj Sinya" userId="a6e95797-5893-4261-9f10-8f81f198df75" providerId="ADAL" clId="{53F80C9B-833D-4693-AFD3-13DDAF0ECA52}" dt="2023-11-14T05:40:43.332" v="3805" actId="20577"/>
          <ac:spMkLst>
            <pc:docMk/>
            <pc:sldMk cId="2997694625" sldId="641"/>
            <ac:spMk id="7" creationId="{60E6C6F7-DC26-BA24-66B4-90F233F4CCB3}"/>
          </ac:spMkLst>
        </pc:spChg>
        <pc:spChg chg="mod">
          <ac:chgData name="Miraj Sinya" userId="a6e95797-5893-4261-9f10-8f81f198df75" providerId="ADAL" clId="{53F80C9B-833D-4693-AFD3-13DDAF0ECA52}" dt="2023-11-14T01:20:43.209" v="38" actId="165"/>
          <ac:spMkLst>
            <pc:docMk/>
            <pc:sldMk cId="2997694625" sldId="641"/>
            <ac:spMk id="12" creationId="{C30DE5CE-97D0-A9EF-1F20-C64724617098}"/>
          </ac:spMkLst>
        </pc:spChg>
        <pc:spChg chg="mod">
          <ac:chgData name="Miraj Sinya" userId="a6e95797-5893-4261-9f10-8f81f198df75" providerId="ADAL" clId="{53F80C9B-833D-4693-AFD3-13DDAF0ECA52}" dt="2023-11-14T01:20:43.209" v="38" actId="165"/>
          <ac:spMkLst>
            <pc:docMk/>
            <pc:sldMk cId="2997694625" sldId="641"/>
            <ac:spMk id="13" creationId="{BDD97CC9-B18D-CDFE-4F1E-82756C8FFA00}"/>
          </ac:spMkLst>
        </pc:spChg>
        <pc:spChg chg="mod">
          <ac:chgData name="Miraj Sinya" userId="a6e95797-5893-4261-9f10-8f81f198df75" providerId="ADAL" clId="{53F80C9B-833D-4693-AFD3-13DDAF0ECA52}" dt="2023-11-14T01:20:43.209" v="38" actId="165"/>
          <ac:spMkLst>
            <pc:docMk/>
            <pc:sldMk cId="2997694625" sldId="641"/>
            <ac:spMk id="14" creationId="{86ED8D9F-E166-3C70-0511-75B76D48672E}"/>
          </ac:spMkLst>
        </pc:spChg>
        <pc:spChg chg="mod">
          <ac:chgData name="Miraj Sinya" userId="a6e95797-5893-4261-9f10-8f81f198df75" providerId="ADAL" clId="{53F80C9B-833D-4693-AFD3-13DDAF0ECA52}" dt="2023-11-14T01:20:43.209" v="38" actId="165"/>
          <ac:spMkLst>
            <pc:docMk/>
            <pc:sldMk cId="2997694625" sldId="641"/>
            <ac:spMk id="17" creationId="{EE880E46-8B0F-F359-E1DE-64A52A76CA80}"/>
          </ac:spMkLst>
        </pc:spChg>
        <pc:spChg chg="mod">
          <ac:chgData name="Miraj Sinya" userId="a6e95797-5893-4261-9f10-8f81f198df75" providerId="ADAL" clId="{53F80C9B-833D-4693-AFD3-13DDAF0ECA52}" dt="2023-11-14T01:20:43.209" v="38" actId="165"/>
          <ac:spMkLst>
            <pc:docMk/>
            <pc:sldMk cId="2997694625" sldId="641"/>
            <ac:spMk id="20" creationId="{2053767D-DD50-D5B3-911B-CFC1EB598A88}"/>
          </ac:spMkLst>
        </pc:spChg>
        <pc:spChg chg="mod">
          <ac:chgData name="Miraj Sinya" userId="a6e95797-5893-4261-9f10-8f81f198df75" providerId="ADAL" clId="{53F80C9B-833D-4693-AFD3-13DDAF0ECA52}" dt="2023-11-14T01:20:43.209" v="38" actId="165"/>
          <ac:spMkLst>
            <pc:docMk/>
            <pc:sldMk cId="2997694625" sldId="641"/>
            <ac:spMk id="27" creationId="{079C5BB0-C600-D55F-B82B-A9A00C8AEEFB}"/>
          </ac:spMkLst>
        </pc:spChg>
        <pc:spChg chg="mod">
          <ac:chgData name="Miraj Sinya" userId="a6e95797-5893-4261-9f10-8f81f198df75" providerId="ADAL" clId="{53F80C9B-833D-4693-AFD3-13DDAF0ECA52}" dt="2023-11-14T01:20:43.209" v="38" actId="165"/>
          <ac:spMkLst>
            <pc:docMk/>
            <pc:sldMk cId="2997694625" sldId="641"/>
            <ac:spMk id="28" creationId="{074FC006-B08A-C260-8F1C-EF5BDDFA5D19}"/>
          </ac:spMkLst>
        </pc:spChg>
        <pc:spChg chg="mod">
          <ac:chgData name="Miraj Sinya" userId="a6e95797-5893-4261-9f10-8f81f198df75" providerId="ADAL" clId="{53F80C9B-833D-4693-AFD3-13DDAF0ECA52}" dt="2023-11-14T01:20:43.209" v="38" actId="165"/>
          <ac:spMkLst>
            <pc:docMk/>
            <pc:sldMk cId="2997694625" sldId="641"/>
            <ac:spMk id="48" creationId="{3399B56E-A326-7D3A-ACC4-1E3EF0518574}"/>
          </ac:spMkLst>
        </pc:spChg>
        <pc:spChg chg="mod">
          <ac:chgData name="Miraj Sinya" userId="a6e95797-5893-4261-9f10-8f81f198df75" providerId="ADAL" clId="{53F80C9B-833D-4693-AFD3-13DDAF0ECA52}" dt="2023-11-14T01:20:43.209" v="38" actId="165"/>
          <ac:spMkLst>
            <pc:docMk/>
            <pc:sldMk cId="2997694625" sldId="641"/>
            <ac:spMk id="52" creationId="{E8CD56CA-739E-FFC8-3391-AF8A828C11BD}"/>
          </ac:spMkLst>
        </pc:spChg>
        <pc:spChg chg="mod">
          <ac:chgData name="Miraj Sinya" userId="a6e95797-5893-4261-9f10-8f81f198df75" providerId="ADAL" clId="{53F80C9B-833D-4693-AFD3-13DDAF0ECA52}" dt="2023-11-14T01:20:43.209" v="38" actId="165"/>
          <ac:spMkLst>
            <pc:docMk/>
            <pc:sldMk cId="2997694625" sldId="641"/>
            <ac:spMk id="58" creationId="{301D4BE1-AC57-48CD-A990-EC769481884D}"/>
          </ac:spMkLst>
        </pc:spChg>
        <pc:spChg chg="mod">
          <ac:chgData name="Miraj Sinya" userId="a6e95797-5893-4261-9f10-8f81f198df75" providerId="ADAL" clId="{53F80C9B-833D-4693-AFD3-13DDAF0ECA52}" dt="2023-11-14T01:20:43.209" v="38" actId="165"/>
          <ac:spMkLst>
            <pc:docMk/>
            <pc:sldMk cId="2997694625" sldId="641"/>
            <ac:spMk id="63" creationId="{BA635195-BCF6-2392-0F0E-694BA74849D6}"/>
          </ac:spMkLst>
        </pc:spChg>
        <pc:spChg chg="mod">
          <ac:chgData name="Miraj Sinya" userId="a6e95797-5893-4261-9f10-8f81f198df75" providerId="ADAL" clId="{53F80C9B-833D-4693-AFD3-13DDAF0ECA52}" dt="2023-11-14T01:20:43.209" v="38" actId="165"/>
          <ac:spMkLst>
            <pc:docMk/>
            <pc:sldMk cId="2997694625" sldId="641"/>
            <ac:spMk id="72" creationId="{C5A03A19-CCC4-1619-1E8F-7BFA37864BC2}"/>
          </ac:spMkLst>
        </pc:spChg>
        <pc:spChg chg="mod">
          <ac:chgData name="Miraj Sinya" userId="a6e95797-5893-4261-9f10-8f81f198df75" providerId="ADAL" clId="{53F80C9B-833D-4693-AFD3-13DDAF0ECA52}" dt="2023-11-14T01:20:43.209" v="38" actId="165"/>
          <ac:spMkLst>
            <pc:docMk/>
            <pc:sldMk cId="2997694625" sldId="641"/>
            <ac:spMk id="73" creationId="{0B0CFEFC-3C64-163A-6E06-35182CF99097}"/>
          </ac:spMkLst>
        </pc:spChg>
        <pc:spChg chg="mod">
          <ac:chgData name="Miraj Sinya" userId="a6e95797-5893-4261-9f10-8f81f198df75" providerId="ADAL" clId="{53F80C9B-833D-4693-AFD3-13DDAF0ECA52}" dt="2023-11-15T03:29:00.705" v="9967" actId="207"/>
          <ac:spMkLst>
            <pc:docMk/>
            <pc:sldMk cId="2997694625" sldId="641"/>
            <ac:spMk id="75" creationId="{EDE135B7-BE7D-C471-8D4B-C552FBE8878B}"/>
          </ac:spMkLst>
        </pc:spChg>
        <pc:spChg chg="mod">
          <ac:chgData name="Miraj Sinya" userId="a6e95797-5893-4261-9f10-8f81f198df75" providerId="ADAL" clId="{53F80C9B-833D-4693-AFD3-13DDAF0ECA52}" dt="2023-11-14T01:20:43.209" v="38" actId="165"/>
          <ac:spMkLst>
            <pc:docMk/>
            <pc:sldMk cId="2997694625" sldId="641"/>
            <ac:spMk id="77" creationId="{8D17EDA9-1791-E364-7E75-1AB06709E60E}"/>
          </ac:spMkLst>
        </pc:spChg>
        <pc:spChg chg="mod">
          <ac:chgData name="Miraj Sinya" userId="a6e95797-5893-4261-9f10-8f81f198df75" providerId="ADAL" clId="{53F80C9B-833D-4693-AFD3-13DDAF0ECA52}" dt="2023-11-14T01:20:43.209" v="38" actId="165"/>
          <ac:spMkLst>
            <pc:docMk/>
            <pc:sldMk cId="2997694625" sldId="641"/>
            <ac:spMk id="84" creationId="{3542FE65-F3DA-1FE9-7233-BBAC63A17A5C}"/>
          </ac:spMkLst>
        </pc:spChg>
        <pc:spChg chg="mod">
          <ac:chgData name="Miraj Sinya" userId="a6e95797-5893-4261-9f10-8f81f198df75" providerId="ADAL" clId="{53F80C9B-833D-4693-AFD3-13DDAF0ECA52}" dt="2023-11-14T01:20:43.209" v="38" actId="165"/>
          <ac:spMkLst>
            <pc:docMk/>
            <pc:sldMk cId="2997694625" sldId="641"/>
            <ac:spMk id="85" creationId="{289500D4-D836-53A0-2B18-EED9F010C19E}"/>
          </ac:spMkLst>
        </pc:spChg>
        <pc:spChg chg="mod">
          <ac:chgData name="Miraj Sinya" userId="a6e95797-5893-4261-9f10-8f81f198df75" providerId="ADAL" clId="{53F80C9B-833D-4693-AFD3-13DDAF0ECA52}" dt="2023-11-14T01:20:43.209" v="38" actId="165"/>
          <ac:spMkLst>
            <pc:docMk/>
            <pc:sldMk cId="2997694625" sldId="641"/>
            <ac:spMk id="86" creationId="{FDD85F94-83A5-2DBD-C3FF-C76E6791A6EB}"/>
          </ac:spMkLst>
        </pc:spChg>
        <pc:spChg chg="mod">
          <ac:chgData name="Miraj Sinya" userId="a6e95797-5893-4261-9f10-8f81f198df75" providerId="ADAL" clId="{53F80C9B-833D-4693-AFD3-13DDAF0ECA52}" dt="2023-11-14T01:20:43.209" v="38" actId="165"/>
          <ac:spMkLst>
            <pc:docMk/>
            <pc:sldMk cId="2997694625" sldId="641"/>
            <ac:spMk id="87" creationId="{A0D88AEA-EFAC-7709-C468-EA5A72F64D61}"/>
          </ac:spMkLst>
        </pc:spChg>
        <pc:spChg chg="mod">
          <ac:chgData name="Miraj Sinya" userId="a6e95797-5893-4261-9f10-8f81f198df75" providerId="ADAL" clId="{53F80C9B-833D-4693-AFD3-13DDAF0ECA52}" dt="2023-11-14T01:20:43.209" v="38" actId="165"/>
          <ac:spMkLst>
            <pc:docMk/>
            <pc:sldMk cId="2997694625" sldId="641"/>
            <ac:spMk id="88" creationId="{AB578EDD-816F-35BB-FE77-B370CEF9990D}"/>
          </ac:spMkLst>
        </pc:spChg>
        <pc:spChg chg="mod">
          <ac:chgData name="Miraj Sinya" userId="a6e95797-5893-4261-9f10-8f81f198df75" providerId="ADAL" clId="{53F80C9B-833D-4693-AFD3-13DDAF0ECA52}" dt="2023-11-14T01:20:43.209" v="38" actId="165"/>
          <ac:spMkLst>
            <pc:docMk/>
            <pc:sldMk cId="2997694625" sldId="641"/>
            <ac:spMk id="91" creationId="{BBB1BA90-A7E0-EE38-B7B5-489B70C5AC35}"/>
          </ac:spMkLst>
        </pc:spChg>
        <pc:spChg chg="mod">
          <ac:chgData name="Miraj Sinya" userId="a6e95797-5893-4261-9f10-8f81f198df75" providerId="ADAL" clId="{53F80C9B-833D-4693-AFD3-13DDAF0ECA52}" dt="2023-11-14T01:20:43.209" v="38" actId="165"/>
          <ac:spMkLst>
            <pc:docMk/>
            <pc:sldMk cId="2997694625" sldId="641"/>
            <ac:spMk id="94" creationId="{E9354C47-6FC0-73AD-FE2F-068495A7017B}"/>
          </ac:spMkLst>
        </pc:spChg>
        <pc:spChg chg="mod">
          <ac:chgData name="Miraj Sinya" userId="a6e95797-5893-4261-9f10-8f81f198df75" providerId="ADAL" clId="{53F80C9B-833D-4693-AFD3-13DDAF0ECA52}" dt="2023-11-14T01:20:43.209" v="38" actId="165"/>
          <ac:spMkLst>
            <pc:docMk/>
            <pc:sldMk cId="2997694625" sldId="641"/>
            <ac:spMk id="97" creationId="{ADD2F03A-248E-4589-650F-6877D8519786}"/>
          </ac:spMkLst>
        </pc:spChg>
        <pc:spChg chg="mod">
          <ac:chgData name="Miraj Sinya" userId="a6e95797-5893-4261-9f10-8f81f198df75" providerId="ADAL" clId="{53F80C9B-833D-4693-AFD3-13DDAF0ECA52}" dt="2023-11-14T01:20:43.209" v="38" actId="165"/>
          <ac:spMkLst>
            <pc:docMk/>
            <pc:sldMk cId="2997694625" sldId="641"/>
            <ac:spMk id="100" creationId="{75A11948-DF9E-5E7A-4C4A-82473A6F942F}"/>
          </ac:spMkLst>
        </pc:spChg>
        <pc:spChg chg="mod topLvl">
          <ac:chgData name="Miraj Sinya" userId="a6e95797-5893-4261-9f10-8f81f198df75" providerId="ADAL" clId="{53F80C9B-833D-4693-AFD3-13DDAF0ECA52}" dt="2023-11-14T05:34:55.834" v="3537" actId="14100"/>
          <ac:spMkLst>
            <pc:docMk/>
            <pc:sldMk cId="2997694625" sldId="641"/>
            <ac:spMk id="102" creationId="{74EAB6AF-BE04-0ACA-93E5-1EF650900B86}"/>
          </ac:spMkLst>
        </pc:spChg>
        <pc:spChg chg="mod topLvl">
          <ac:chgData name="Miraj Sinya" userId="a6e95797-5893-4261-9f10-8f81f198df75" providerId="ADAL" clId="{53F80C9B-833D-4693-AFD3-13DDAF0ECA52}" dt="2023-11-14T05:41:02.400" v="3810" actId="1037"/>
          <ac:spMkLst>
            <pc:docMk/>
            <pc:sldMk cId="2997694625" sldId="641"/>
            <ac:spMk id="103" creationId="{31E6B5D2-5279-5E1A-7C26-E0A4AB64235F}"/>
          </ac:spMkLst>
        </pc:spChg>
        <pc:spChg chg="mod topLvl">
          <ac:chgData name="Miraj Sinya" userId="a6e95797-5893-4261-9f10-8f81f198df75" providerId="ADAL" clId="{53F80C9B-833D-4693-AFD3-13DDAF0ECA52}" dt="2023-11-14T05:35:00.646" v="3554" actId="1036"/>
          <ac:spMkLst>
            <pc:docMk/>
            <pc:sldMk cId="2997694625" sldId="641"/>
            <ac:spMk id="105" creationId="{4620399C-DC63-8DE8-4176-0764EC45F60A}"/>
          </ac:spMkLst>
        </pc:spChg>
        <pc:spChg chg="mod topLvl">
          <ac:chgData name="Miraj Sinya" userId="a6e95797-5893-4261-9f10-8f81f198df75" providerId="ADAL" clId="{53F80C9B-833D-4693-AFD3-13DDAF0ECA52}" dt="2023-11-14T05:39:57.442" v="3776" actId="1076"/>
          <ac:spMkLst>
            <pc:docMk/>
            <pc:sldMk cId="2997694625" sldId="641"/>
            <ac:spMk id="106" creationId="{6C766CFB-2D58-FD45-EB63-ED990068374E}"/>
          </ac:spMkLst>
        </pc:spChg>
        <pc:spChg chg="mod">
          <ac:chgData name="Miraj Sinya" userId="a6e95797-5893-4261-9f10-8f81f198df75" providerId="ADAL" clId="{53F80C9B-833D-4693-AFD3-13DDAF0ECA52}" dt="2023-11-14T01:20:43.209" v="38" actId="165"/>
          <ac:spMkLst>
            <pc:docMk/>
            <pc:sldMk cId="2997694625" sldId="641"/>
            <ac:spMk id="108" creationId="{D98E4217-6882-C917-44E2-82DDDD4B87F4}"/>
          </ac:spMkLst>
        </pc:spChg>
        <pc:grpChg chg="add del mod">
          <ac:chgData name="Miraj Sinya" userId="a6e95797-5893-4261-9f10-8f81f198df75" providerId="ADAL" clId="{53F80C9B-833D-4693-AFD3-13DDAF0ECA52}" dt="2023-11-14T01:20:43.209" v="38" actId="165"/>
          <ac:grpSpMkLst>
            <pc:docMk/>
            <pc:sldMk cId="2997694625" sldId="641"/>
            <ac:grpSpMk id="6" creationId="{3BAFB660-CEC4-D9E9-ABD7-240A7EF10054}"/>
          </ac:grpSpMkLst>
        </pc:grpChg>
        <pc:grpChg chg="mod">
          <ac:chgData name="Miraj Sinya" userId="a6e95797-5893-4261-9f10-8f81f198df75" providerId="ADAL" clId="{53F80C9B-833D-4693-AFD3-13DDAF0ECA52}" dt="2023-11-14T01:20:43.209" v="38" actId="165"/>
          <ac:grpSpMkLst>
            <pc:docMk/>
            <pc:sldMk cId="2997694625" sldId="641"/>
            <ac:grpSpMk id="16" creationId="{7A85338A-BC6A-8865-3ACB-A00D60BA4342}"/>
          </ac:grpSpMkLst>
        </pc:grpChg>
        <pc:grpChg chg="mod">
          <ac:chgData name="Miraj Sinya" userId="a6e95797-5893-4261-9f10-8f81f198df75" providerId="ADAL" clId="{53F80C9B-833D-4693-AFD3-13DDAF0ECA52}" dt="2023-11-14T01:20:43.209" v="38" actId="165"/>
          <ac:grpSpMkLst>
            <pc:docMk/>
            <pc:sldMk cId="2997694625" sldId="641"/>
            <ac:grpSpMk id="21" creationId="{9549AFF8-EC6F-3339-9655-AD89A946630B}"/>
          </ac:grpSpMkLst>
        </pc:grpChg>
        <pc:grpChg chg="mod">
          <ac:chgData name="Miraj Sinya" userId="a6e95797-5893-4261-9f10-8f81f198df75" providerId="ADAL" clId="{53F80C9B-833D-4693-AFD3-13DDAF0ECA52}" dt="2023-11-14T01:20:43.209" v="38" actId="165"/>
          <ac:grpSpMkLst>
            <pc:docMk/>
            <pc:sldMk cId="2997694625" sldId="641"/>
            <ac:grpSpMk id="59" creationId="{7F1FFF29-9510-B4A6-AAE0-FF1F1FACC38A}"/>
          </ac:grpSpMkLst>
        </pc:grpChg>
        <pc:grpChg chg="mod">
          <ac:chgData name="Miraj Sinya" userId="a6e95797-5893-4261-9f10-8f81f198df75" providerId="ADAL" clId="{53F80C9B-833D-4693-AFD3-13DDAF0ECA52}" dt="2023-11-14T01:20:43.209" v="38" actId="165"/>
          <ac:grpSpMkLst>
            <pc:docMk/>
            <pc:sldMk cId="2997694625" sldId="641"/>
            <ac:grpSpMk id="89" creationId="{4C71C17B-61F4-D4A2-E6B3-999A8580F5A7}"/>
          </ac:grpSpMkLst>
        </pc:grpChg>
        <pc:grpChg chg="mod">
          <ac:chgData name="Miraj Sinya" userId="a6e95797-5893-4261-9f10-8f81f198df75" providerId="ADAL" clId="{53F80C9B-833D-4693-AFD3-13DDAF0ECA52}" dt="2023-11-14T01:20:43.209" v="38" actId="165"/>
          <ac:grpSpMkLst>
            <pc:docMk/>
            <pc:sldMk cId="2997694625" sldId="641"/>
            <ac:grpSpMk id="90" creationId="{BD486A96-D003-5D54-FCF3-3E0CCB22CB3B}"/>
          </ac:grpSpMkLst>
        </pc:grpChg>
        <pc:grpChg chg="mod">
          <ac:chgData name="Miraj Sinya" userId="a6e95797-5893-4261-9f10-8f81f198df75" providerId="ADAL" clId="{53F80C9B-833D-4693-AFD3-13DDAF0ECA52}" dt="2023-11-14T01:20:43.209" v="38" actId="165"/>
          <ac:grpSpMkLst>
            <pc:docMk/>
            <pc:sldMk cId="2997694625" sldId="641"/>
            <ac:grpSpMk id="92" creationId="{95DEC2E5-D931-7774-8E61-A893FB413B95}"/>
          </ac:grpSpMkLst>
        </pc:grpChg>
        <pc:grpChg chg="mod">
          <ac:chgData name="Miraj Sinya" userId="a6e95797-5893-4261-9f10-8f81f198df75" providerId="ADAL" clId="{53F80C9B-833D-4693-AFD3-13DDAF0ECA52}" dt="2023-11-14T01:20:43.209" v="38" actId="165"/>
          <ac:grpSpMkLst>
            <pc:docMk/>
            <pc:sldMk cId="2997694625" sldId="641"/>
            <ac:grpSpMk id="93" creationId="{A0CFD9F6-E358-BA79-E303-29141873A996}"/>
          </ac:grpSpMkLst>
        </pc:grpChg>
        <pc:grpChg chg="mod topLvl">
          <ac:chgData name="Miraj Sinya" userId="a6e95797-5893-4261-9f10-8f81f198df75" providerId="ADAL" clId="{53F80C9B-833D-4693-AFD3-13DDAF0ECA52}" dt="2023-11-14T01:20:43.209" v="38" actId="165"/>
          <ac:grpSpMkLst>
            <pc:docMk/>
            <pc:sldMk cId="2997694625" sldId="641"/>
            <ac:grpSpMk id="98" creationId="{CC7583B3-2586-E76A-6CA8-5EE00955C31F}"/>
          </ac:grpSpMkLst>
        </pc:grpChg>
        <pc:grpChg chg="mod topLvl">
          <ac:chgData name="Miraj Sinya" userId="a6e95797-5893-4261-9f10-8f81f198df75" providerId="ADAL" clId="{53F80C9B-833D-4693-AFD3-13DDAF0ECA52}" dt="2023-11-14T01:20:43.209" v="38" actId="165"/>
          <ac:grpSpMkLst>
            <pc:docMk/>
            <pc:sldMk cId="2997694625" sldId="641"/>
            <ac:grpSpMk id="99" creationId="{E9967969-1481-D538-75F0-CF81427076B8}"/>
          </ac:grpSpMkLst>
        </pc:grpChg>
        <pc:grpChg chg="mod topLvl">
          <ac:chgData name="Miraj Sinya" userId="a6e95797-5893-4261-9f10-8f81f198df75" providerId="ADAL" clId="{53F80C9B-833D-4693-AFD3-13DDAF0ECA52}" dt="2023-11-14T01:20:43.209" v="38" actId="165"/>
          <ac:grpSpMkLst>
            <pc:docMk/>
            <pc:sldMk cId="2997694625" sldId="641"/>
            <ac:grpSpMk id="107" creationId="{C98C65A8-E9E5-2EF4-704C-C6543E3E511D}"/>
          </ac:grpSpMkLst>
        </pc:grpChg>
        <pc:cxnChg chg="mod">
          <ac:chgData name="Miraj Sinya" userId="a6e95797-5893-4261-9f10-8f81f198df75" providerId="ADAL" clId="{53F80C9B-833D-4693-AFD3-13DDAF0ECA52}" dt="2023-11-14T01:20:43.209" v="38" actId="165"/>
          <ac:cxnSpMkLst>
            <pc:docMk/>
            <pc:sldMk cId="2997694625" sldId="641"/>
            <ac:cxnSpMk id="30" creationId="{D2F292FA-DBB0-7D71-CD12-522D228FCF5F}"/>
          </ac:cxnSpMkLst>
        </pc:cxnChg>
        <pc:cxnChg chg="mod">
          <ac:chgData name="Miraj Sinya" userId="a6e95797-5893-4261-9f10-8f81f198df75" providerId="ADAL" clId="{53F80C9B-833D-4693-AFD3-13DDAF0ECA52}" dt="2023-11-14T01:20:43.209" v="38" actId="165"/>
          <ac:cxnSpMkLst>
            <pc:docMk/>
            <pc:sldMk cId="2997694625" sldId="641"/>
            <ac:cxnSpMk id="32" creationId="{4A1A2FEA-3767-E982-CBC7-B79186FE185C}"/>
          </ac:cxnSpMkLst>
        </pc:cxnChg>
        <pc:cxnChg chg="mod">
          <ac:chgData name="Miraj Sinya" userId="a6e95797-5893-4261-9f10-8f81f198df75" providerId="ADAL" clId="{53F80C9B-833D-4693-AFD3-13DDAF0ECA52}" dt="2023-11-14T01:20:43.209" v="38" actId="165"/>
          <ac:cxnSpMkLst>
            <pc:docMk/>
            <pc:sldMk cId="2997694625" sldId="641"/>
            <ac:cxnSpMk id="35" creationId="{2CD81BEB-94FE-3DD6-8D92-A857459F936C}"/>
          </ac:cxnSpMkLst>
        </pc:cxnChg>
        <pc:cxnChg chg="mod">
          <ac:chgData name="Miraj Sinya" userId="a6e95797-5893-4261-9f10-8f81f198df75" providerId="ADAL" clId="{53F80C9B-833D-4693-AFD3-13DDAF0ECA52}" dt="2023-11-14T01:20:43.209" v="38" actId="165"/>
          <ac:cxnSpMkLst>
            <pc:docMk/>
            <pc:sldMk cId="2997694625" sldId="641"/>
            <ac:cxnSpMk id="37" creationId="{C4300AE6-141B-795F-01F7-3C717197825C}"/>
          </ac:cxnSpMkLst>
        </pc:cxnChg>
        <pc:cxnChg chg="mod">
          <ac:chgData name="Miraj Sinya" userId="a6e95797-5893-4261-9f10-8f81f198df75" providerId="ADAL" clId="{53F80C9B-833D-4693-AFD3-13DDAF0ECA52}" dt="2023-11-14T01:20:43.209" v="38" actId="165"/>
          <ac:cxnSpMkLst>
            <pc:docMk/>
            <pc:sldMk cId="2997694625" sldId="641"/>
            <ac:cxnSpMk id="60" creationId="{BEAD008C-1622-290C-8367-0605B7119C04}"/>
          </ac:cxnSpMkLst>
        </pc:cxnChg>
        <pc:cxnChg chg="mod">
          <ac:chgData name="Miraj Sinya" userId="a6e95797-5893-4261-9f10-8f81f198df75" providerId="ADAL" clId="{53F80C9B-833D-4693-AFD3-13DDAF0ECA52}" dt="2023-11-14T01:20:43.209" v="38" actId="165"/>
          <ac:cxnSpMkLst>
            <pc:docMk/>
            <pc:sldMk cId="2997694625" sldId="641"/>
            <ac:cxnSpMk id="95" creationId="{60EBD623-275F-1F67-CA09-068362CD367B}"/>
          </ac:cxnSpMkLst>
        </pc:cxnChg>
        <pc:cxnChg chg="mod">
          <ac:chgData name="Miraj Sinya" userId="a6e95797-5893-4261-9f10-8f81f198df75" providerId="ADAL" clId="{53F80C9B-833D-4693-AFD3-13DDAF0ECA52}" dt="2023-11-14T01:20:43.209" v="38" actId="165"/>
          <ac:cxnSpMkLst>
            <pc:docMk/>
            <pc:sldMk cId="2997694625" sldId="641"/>
            <ac:cxnSpMk id="96" creationId="{A03BFEC8-8410-5FA8-FB0E-5B595A5CB686}"/>
          </ac:cxnSpMkLst>
        </pc:cxnChg>
        <pc:cxnChg chg="mod">
          <ac:chgData name="Miraj Sinya" userId="a6e95797-5893-4261-9f10-8f81f198df75" providerId="ADAL" clId="{53F80C9B-833D-4693-AFD3-13DDAF0ECA52}" dt="2023-11-14T01:20:43.209" v="38" actId="165"/>
          <ac:cxnSpMkLst>
            <pc:docMk/>
            <pc:sldMk cId="2997694625" sldId="641"/>
            <ac:cxnSpMk id="101" creationId="{881CDB23-163C-FDFC-5534-97669D9029AA}"/>
          </ac:cxnSpMkLst>
        </pc:cxnChg>
        <pc:cxnChg chg="mod topLvl">
          <ac:chgData name="Miraj Sinya" userId="a6e95797-5893-4261-9f10-8f81f198df75" providerId="ADAL" clId="{53F80C9B-833D-4693-AFD3-13DDAF0ECA52}" dt="2023-11-14T05:40:55.352" v="3806" actId="465"/>
          <ac:cxnSpMkLst>
            <pc:docMk/>
            <pc:sldMk cId="2997694625" sldId="641"/>
            <ac:cxnSpMk id="104" creationId="{478FBB3D-B488-FF67-3954-DEAA9159E144}"/>
          </ac:cxnSpMkLst>
        </pc:cxnChg>
        <pc:cxnChg chg="mod">
          <ac:chgData name="Miraj Sinya" userId="a6e95797-5893-4261-9f10-8f81f198df75" providerId="ADAL" clId="{53F80C9B-833D-4693-AFD3-13DDAF0ECA52}" dt="2023-11-14T01:20:43.209" v="38" actId="165"/>
          <ac:cxnSpMkLst>
            <pc:docMk/>
            <pc:sldMk cId="2997694625" sldId="641"/>
            <ac:cxnSpMk id="109" creationId="{6CD97BCE-8A68-31B0-4115-6A33DA4C4D79}"/>
          </ac:cxnSpMkLst>
        </pc:cxnChg>
      </pc:sldChg>
      <pc:sldChg chg="addSp delSp modSp del">
        <pc:chgData name="Miraj Sinya" userId="a6e95797-5893-4261-9f10-8f81f198df75" providerId="ADAL" clId="{53F80C9B-833D-4693-AFD3-13DDAF0ECA52}" dt="2023-11-14T02:38:51.367" v="1225" actId="2696"/>
        <pc:sldMkLst>
          <pc:docMk/>
          <pc:sldMk cId="1084749955" sldId="643"/>
        </pc:sldMkLst>
        <pc:spChg chg="add del mod">
          <ac:chgData name="Miraj Sinya" userId="a6e95797-5893-4261-9f10-8f81f198df75" providerId="ADAL" clId="{53F80C9B-833D-4693-AFD3-13DDAF0ECA52}" dt="2023-11-14T01:18:30.645" v="23"/>
          <ac:spMkLst>
            <pc:docMk/>
            <pc:sldMk cId="1084749955" sldId="643"/>
            <ac:spMk id="4" creationId="{490E278F-D036-A75B-EFA1-912C99D160C6}"/>
          </ac:spMkLst>
        </pc:spChg>
      </pc:sldChg>
      <pc:sldChg chg="addSp delSp modSp del mod">
        <pc:chgData name="Miraj Sinya" userId="a6e95797-5893-4261-9f10-8f81f198df75" providerId="ADAL" clId="{53F80C9B-833D-4693-AFD3-13DDAF0ECA52}" dt="2023-11-14T02:36:19.616" v="1207" actId="47"/>
        <pc:sldMkLst>
          <pc:docMk/>
          <pc:sldMk cId="1263379538" sldId="646"/>
        </pc:sldMkLst>
        <pc:spChg chg="mod">
          <ac:chgData name="Miraj Sinya" userId="a6e95797-5893-4261-9f10-8f81f198df75" providerId="ADAL" clId="{53F80C9B-833D-4693-AFD3-13DDAF0ECA52}" dt="2023-11-14T02:32:23.742" v="1159" actId="6549"/>
          <ac:spMkLst>
            <pc:docMk/>
            <pc:sldMk cId="1263379538" sldId="646"/>
            <ac:spMk id="2" creationId="{64F11D8E-E0AD-C633-5975-BCBEA4CBF86D}"/>
          </ac:spMkLst>
        </pc:spChg>
        <pc:spChg chg="mod topLvl">
          <ac:chgData name="Miraj Sinya" userId="a6e95797-5893-4261-9f10-8f81f198df75" providerId="ADAL" clId="{53F80C9B-833D-4693-AFD3-13DDAF0ECA52}" dt="2023-11-14T02:00:14.736" v="554" actId="165"/>
          <ac:spMkLst>
            <pc:docMk/>
            <pc:sldMk cId="1263379538" sldId="646"/>
            <ac:spMk id="4" creationId="{5227DD2E-8366-D18D-D909-123438734F48}"/>
          </ac:spMkLst>
        </pc:spChg>
        <pc:spChg chg="mod">
          <ac:chgData name="Miraj Sinya" userId="a6e95797-5893-4261-9f10-8f81f198df75" providerId="ADAL" clId="{53F80C9B-833D-4693-AFD3-13DDAF0ECA52}" dt="2023-11-14T02:00:14.736" v="554" actId="165"/>
          <ac:spMkLst>
            <pc:docMk/>
            <pc:sldMk cId="1263379538" sldId="646"/>
            <ac:spMk id="6" creationId="{E67E7AA9-5349-C671-CF4C-5D766EE9D3F4}"/>
          </ac:spMkLst>
        </pc:spChg>
        <pc:spChg chg="add mod">
          <ac:chgData name="Miraj Sinya" userId="a6e95797-5893-4261-9f10-8f81f198df75" providerId="ADAL" clId="{53F80C9B-833D-4693-AFD3-13DDAF0ECA52}" dt="2023-11-14T02:10:48.970" v="875" actId="20577"/>
          <ac:spMkLst>
            <pc:docMk/>
            <pc:sldMk cId="1263379538" sldId="646"/>
            <ac:spMk id="8" creationId="{92C50B31-F866-7B98-ED1E-7F6C3088E75C}"/>
          </ac:spMkLst>
        </pc:spChg>
        <pc:spChg chg="mod">
          <ac:chgData name="Miraj Sinya" userId="a6e95797-5893-4261-9f10-8f81f198df75" providerId="ADAL" clId="{53F80C9B-833D-4693-AFD3-13DDAF0ECA52}" dt="2023-11-14T02:00:14.736" v="554" actId="165"/>
          <ac:spMkLst>
            <pc:docMk/>
            <pc:sldMk cId="1263379538" sldId="646"/>
            <ac:spMk id="10" creationId="{6E730519-3B36-E45D-A4BB-6939A2CED3C6}"/>
          </ac:spMkLst>
        </pc:spChg>
        <pc:spChg chg="add mod topLvl">
          <ac:chgData name="Miraj Sinya" userId="a6e95797-5893-4261-9f10-8f81f198df75" providerId="ADAL" clId="{53F80C9B-833D-4693-AFD3-13DDAF0ECA52}" dt="2023-11-14T02:00:14.736" v="554" actId="165"/>
          <ac:spMkLst>
            <pc:docMk/>
            <pc:sldMk cId="1263379538" sldId="646"/>
            <ac:spMk id="12" creationId="{3CAD1D49-3969-DF9C-2CB0-6BC9D29B5228}"/>
          </ac:spMkLst>
        </pc:spChg>
        <pc:spChg chg="add mod">
          <ac:chgData name="Miraj Sinya" userId="a6e95797-5893-4261-9f10-8f81f198df75" providerId="ADAL" clId="{53F80C9B-833D-4693-AFD3-13DDAF0ECA52}" dt="2023-11-14T01:54:31.212" v="490" actId="165"/>
          <ac:spMkLst>
            <pc:docMk/>
            <pc:sldMk cId="1263379538" sldId="646"/>
            <ac:spMk id="13" creationId="{8AEF4EC7-8C88-8A01-F3FE-94577D825F42}"/>
          </ac:spMkLst>
        </pc:spChg>
        <pc:spChg chg="add del mod">
          <ac:chgData name="Miraj Sinya" userId="a6e95797-5893-4261-9f10-8f81f198df75" providerId="ADAL" clId="{53F80C9B-833D-4693-AFD3-13DDAF0ECA52}" dt="2023-11-14T01:35:38.109" v="60"/>
          <ac:spMkLst>
            <pc:docMk/>
            <pc:sldMk cId="1263379538" sldId="646"/>
            <ac:spMk id="14" creationId="{8F4C7581-4507-5C47-D21D-DA5C0D8319EB}"/>
          </ac:spMkLst>
        </pc:spChg>
        <pc:spChg chg="add del mod">
          <ac:chgData name="Miraj Sinya" userId="a6e95797-5893-4261-9f10-8f81f198df75" providerId="ADAL" clId="{53F80C9B-833D-4693-AFD3-13DDAF0ECA52}" dt="2023-11-14T01:35:38.109" v="60"/>
          <ac:spMkLst>
            <pc:docMk/>
            <pc:sldMk cId="1263379538" sldId="646"/>
            <ac:spMk id="15" creationId="{0787F7E6-B9E7-940E-F3D3-19EC02994077}"/>
          </ac:spMkLst>
        </pc:spChg>
        <pc:spChg chg="mod topLvl">
          <ac:chgData name="Miraj Sinya" userId="a6e95797-5893-4261-9f10-8f81f198df75" providerId="ADAL" clId="{53F80C9B-833D-4693-AFD3-13DDAF0ECA52}" dt="2023-11-14T02:28:49.952" v="1110" actId="1076"/>
          <ac:spMkLst>
            <pc:docMk/>
            <pc:sldMk cId="1263379538" sldId="646"/>
            <ac:spMk id="18" creationId="{6AB8B340-A5A1-1C09-EDF4-6505F38A2B53}"/>
          </ac:spMkLst>
        </pc:spChg>
        <pc:spChg chg="mod topLvl">
          <ac:chgData name="Miraj Sinya" userId="a6e95797-5893-4261-9f10-8f81f198df75" providerId="ADAL" clId="{53F80C9B-833D-4693-AFD3-13DDAF0ECA52}" dt="2023-11-14T02:28:49.952" v="1110" actId="1076"/>
          <ac:spMkLst>
            <pc:docMk/>
            <pc:sldMk cId="1263379538" sldId="646"/>
            <ac:spMk id="20" creationId="{63AB8C03-C767-9C46-E78F-6E1AA710E6F7}"/>
          </ac:spMkLst>
        </pc:spChg>
        <pc:spChg chg="mod topLvl">
          <ac:chgData name="Miraj Sinya" userId="a6e95797-5893-4261-9f10-8f81f198df75" providerId="ADAL" clId="{53F80C9B-833D-4693-AFD3-13DDAF0ECA52}" dt="2023-11-14T02:28:49.952" v="1110" actId="1076"/>
          <ac:spMkLst>
            <pc:docMk/>
            <pc:sldMk cId="1263379538" sldId="646"/>
            <ac:spMk id="21" creationId="{0D5ED5B2-28BD-E5B4-3164-D7140228E829}"/>
          </ac:spMkLst>
        </pc:spChg>
        <pc:spChg chg="mod topLvl">
          <ac:chgData name="Miraj Sinya" userId="a6e95797-5893-4261-9f10-8f81f198df75" providerId="ADAL" clId="{53F80C9B-833D-4693-AFD3-13DDAF0ECA52}" dt="2023-11-14T02:28:49.952" v="1110" actId="1076"/>
          <ac:spMkLst>
            <pc:docMk/>
            <pc:sldMk cId="1263379538" sldId="646"/>
            <ac:spMk id="22" creationId="{3F274097-D17D-6C1B-3DC9-E960A1C919BE}"/>
          </ac:spMkLst>
        </pc:spChg>
        <pc:spChg chg="mod topLvl">
          <ac:chgData name="Miraj Sinya" userId="a6e95797-5893-4261-9f10-8f81f198df75" providerId="ADAL" clId="{53F80C9B-833D-4693-AFD3-13DDAF0ECA52}" dt="2023-11-14T02:28:49.952" v="1110" actId="1076"/>
          <ac:spMkLst>
            <pc:docMk/>
            <pc:sldMk cId="1263379538" sldId="646"/>
            <ac:spMk id="23" creationId="{67CD657C-960B-6A26-7ED8-0C1EC685931D}"/>
          </ac:spMkLst>
        </pc:spChg>
        <pc:spChg chg="add mod">
          <ac:chgData name="Miraj Sinya" userId="a6e95797-5893-4261-9f10-8f81f198df75" providerId="ADAL" clId="{53F80C9B-833D-4693-AFD3-13DDAF0ECA52}" dt="2023-11-14T01:54:31.212" v="490" actId="165"/>
          <ac:spMkLst>
            <pc:docMk/>
            <pc:sldMk cId="1263379538" sldId="646"/>
            <ac:spMk id="27" creationId="{3AE653E7-B3A8-BECB-CF70-A1E1EE470CB9}"/>
          </ac:spMkLst>
        </pc:spChg>
        <pc:spChg chg="add mod">
          <ac:chgData name="Miraj Sinya" userId="a6e95797-5893-4261-9f10-8f81f198df75" providerId="ADAL" clId="{53F80C9B-833D-4693-AFD3-13DDAF0ECA52}" dt="2023-11-14T01:40:02.438" v="149" actId="571"/>
          <ac:spMkLst>
            <pc:docMk/>
            <pc:sldMk cId="1263379538" sldId="646"/>
            <ac:spMk id="33" creationId="{8DB22ACF-E673-CA0A-0715-CF0F10F1CC21}"/>
          </ac:spMkLst>
        </pc:spChg>
        <pc:spChg chg="mod">
          <ac:chgData name="Miraj Sinya" userId="a6e95797-5893-4261-9f10-8f81f198df75" providerId="ADAL" clId="{53F80C9B-833D-4693-AFD3-13DDAF0ECA52}" dt="2023-11-14T01:54:31.212" v="490" actId="165"/>
          <ac:spMkLst>
            <pc:docMk/>
            <pc:sldMk cId="1263379538" sldId="646"/>
            <ac:spMk id="35" creationId="{A87C0D5E-D93E-60AC-26D8-9B3D1CBFE945}"/>
          </ac:spMkLst>
        </pc:spChg>
        <pc:spChg chg="mod">
          <ac:chgData name="Miraj Sinya" userId="a6e95797-5893-4261-9f10-8f81f198df75" providerId="ADAL" clId="{53F80C9B-833D-4693-AFD3-13DDAF0ECA52}" dt="2023-11-14T01:54:31.212" v="490" actId="165"/>
          <ac:spMkLst>
            <pc:docMk/>
            <pc:sldMk cId="1263379538" sldId="646"/>
            <ac:spMk id="36" creationId="{95E1DF6E-27A9-9171-A5B0-80FEAAC8C546}"/>
          </ac:spMkLst>
        </pc:spChg>
        <pc:spChg chg="mod">
          <ac:chgData name="Miraj Sinya" userId="a6e95797-5893-4261-9f10-8f81f198df75" providerId="ADAL" clId="{53F80C9B-833D-4693-AFD3-13DDAF0ECA52}" dt="2023-11-14T01:54:31.212" v="490" actId="165"/>
          <ac:spMkLst>
            <pc:docMk/>
            <pc:sldMk cId="1263379538" sldId="646"/>
            <ac:spMk id="39" creationId="{333BCCF7-1A1D-5752-BF06-6C0E18C16186}"/>
          </ac:spMkLst>
        </pc:spChg>
        <pc:spChg chg="mod">
          <ac:chgData name="Miraj Sinya" userId="a6e95797-5893-4261-9f10-8f81f198df75" providerId="ADAL" clId="{53F80C9B-833D-4693-AFD3-13DDAF0ECA52}" dt="2023-11-14T01:54:31.212" v="490" actId="165"/>
          <ac:spMkLst>
            <pc:docMk/>
            <pc:sldMk cId="1263379538" sldId="646"/>
            <ac:spMk id="40" creationId="{5AD62CF6-A821-79D1-1DAC-72D521C6DDC0}"/>
          </ac:spMkLst>
        </pc:spChg>
        <pc:spChg chg="mod topLvl">
          <ac:chgData name="Miraj Sinya" userId="a6e95797-5893-4261-9f10-8f81f198df75" providerId="ADAL" clId="{53F80C9B-833D-4693-AFD3-13DDAF0ECA52}" dt="2023-11-14T02:28:49.952" v="1110" actId="1076"/>
          <ac:spMkLst>
            <pc:docMk/>
            <pc:sldMk cId="1263379538" sldId="646"/>
            <ac:spMk id="43" creationId="{CDEF0D60-AFD0-2727-F843-43843A531B08}"/>
          </ac:spMkLst>
        </pc:spChg>
        <pc:spChg chg="mod topLvl">
          <ac:chgData name="Miraj Sinya" userId="a6e95797-5893-4261-9f10-8f81f198df75" providerId="ADAL" clId="{53F80C9B-833D-4693-AFD3-13DDAF0ECA52}" dt="2023-11-14T02:28:49.952" v="1110" actId="1076"/>
          <ac:spMkLst>
            <pc:docMk/>
            <pc:sldMk cId="1263379538" sldId="646"/>
            <ac:spMk id="44" creationId="{AA98B162-16C5-ED31-95FE-AA7C4E26EEC4}"/>
          </ac:spMkLst>
        </pc:spChg>
        <pc:spChg chg="mod">
          <ac:chgData name="Miraj Sinya" userId="a6e95797-5893-4261-9f10-8f81f198df75" providerId="ADAL" clId="{53F80C9B-833D-4693-AFD3-13DDAF0ECA52}" dt="2023-11-14T01:54:31.212" v="490" actId="165"/>
          <ac:spMkLst>
            <pc:docMk/>
            <pc:sldMk cId="1263379538" sldId="646"/>
            <ac:spMk id="46" creationId="{9938D6F2-C3AD-31E7-738E-FCF4B4A8A091}"/>
          </ac:spMkLst>
        </pc:spChg>
        <pc:spChg chg="mod">
          <ac:chgData name="Miraj Sinya" userId="a6e95797-5893-4261-9f10-8f81f198df75" providerId="ADAL" clId="{53F80C9B-833D-4693-AFD3-13DDAF0ECA52}" dt="2023-11-14T01:54:31.212" v="490" actId="165"/>
          <ac:spMkLst>
            <pc:docMk/>
            <pc:sldMk cId="1263379538" sldId="646"/>
            <ac:spMk id="47" creationId="{9CD8C194-B299-AFFF-7089-3131676399FA}"/>
          </ac:spMkLst>
        </pc:spChg>
        <pc:spChg chg="mod">
          <ac:chgData name="Miraj Sinya" userId="a6e95797-5893-4261-9f10-8f81f198df75" providerId="ADAL" clId="{53F80C9B-833D-4693-AFD3-13DDAF0ECA52}" dt="2023-11-14T01:42:31.898" v="276" actId="571"/>
          <ac:spMkLst>
            <pc:docMk/>
            <pc:sldMk cId="1263379538" sldId="646"/>
            <ac:spMk id="49" creationId="{62772D4E-BF77-F20D-D8E6-E906B41EA1D9}"/>
          </ac:spMkLst>
        </pc:spChg>
        <pc:spChg chg="mod">
          <ac:chgData name="Miraj Sinya" userId="a6e95797-5893-4261-9f10-8f81f198df75" providerId="ADAL" clId="{53F80C9B-833D-4693-AFD3-13DDAF0ECA52}" dt="2023-11-14T01:42:31.898" v="276" actId="571"/>
          <ac:spMkLst>
            <pc:docMk/>
            <pc:sldMk cId="1263379538" sldId="646"/>
            <ac:spMk id="50" creationId="{69C957F1-8173-2706-A619-1A22A11A95B6}"/>
          </ac:spMkLst>
        </pc:spChg>
        <pc:spChg chg="add mod">
          <ac:chgData name="Miraj Sinya" userId="a6e95797-5893-4261-9f10-8f81f198df75" providerId="ADAL" clId="{53F80C9B-833D-4693-AFD3-13DDAF0ECA52}" dt="2023-11-14T01:45:40.624" v="317" actId="571"/>
          <ac:spMkLst>
            <pc:docMk/>
            <pc:sldMk cId="1263379538" sldId="646"/>
            <ac:spMk id="59" creationId="{6FFF315D-6CA5-937C-219B-FDA322D58CBC}"/>
          </ac:spMkLst>
        </pc:spChg>
        <pc:spChg chg="add mod">
          <ac:chgData name="Miraj Sinya" userId="a6e95797-5893-4261-9f10-8f81f198df75" providerId="ADAL" clId="{53F80C9B-833D-4693-AFD3-13DDAF0ECA52}" dt="2023-11-14T01:45:40.624" v="317" actId="571"/>
          <ac:spMkLst>
            <pc:docMk/>
            <pc:sldMk cId="1263379538" sldId="646"/>
            <ac:spMk id="60" creationId="{87926B10-072F-7087-E328-865A717372BC}"/>
          </ac:spMkLst>
        </pc:spChg>
        <pc:spChg chg="mod">
          <ac:chgData name="Miraj Sinya" userId="a6e95797-5893-4261-9f10-8f81f198df75" providerId="ADAL" clId="{53F80C9B-833D-4693-AFD3-13DDAF0ECA52}" dt="2023-11-14T01:54:31.212" v="490" actId="165"/>
          <ac:spMkLst>
            <pc:docMk/>
            <pc:sldMk cId="1263379538" sldId="646"/>
            <ac:spMk id="62" creationId="{A5BF4539-491E-085D-0600-6A41E80088AB}"/>
          </ac:spMkLst>
        </pc:spChg>
        <pc:spChg chg="mod">
          <ac:chgData name="Miraj Sinya" userId="a6e95797-5893-4261-9f10-8f81f198df75" providerId="ADAL" clId="{53F80C9B-833D-4693-AFD3-13DDAF0ECA52}" dt="2023-11-14T01:54:31.212" v="490" actId="165"/>
          <ac:spMkLst>
            <pc:docMk/>
            <pc:sldMk cId="1263379538" sldId="646"/>
            <ac:spMk id="63" creationId="{7909575C-D7C1-3ED7-0638-51A2B6267513}"/>
          </ac:spMkLst>
        </pc:spChg>
        <pc:spChg chg="mod">
          <ac:chgData name="Miraj Sinya" userId="a6e95797-5893-4261-9f10-8f81f198df75" providerId="ADAL" clId="{53F80C9B-833D-4693-AFD3-13DDAF0ECA52}" dt="2023-11-14T01:54:31.212" v="490" actId="165"/>
          <ac:spMkLst>
            <pc:docMk/>
            <pc:sldMk cId="1263379538" sldId="646"/>
            <ac:spMk id="66" creationId="{ABEF6333-1ADE-5E82-783F-ABB39E43F2B3}"/>
          </ac:spMkLst>
        </pc:spChg>
        <pc:spChg chg="mod">
          <ac:chgData name="Miraj Sinya" userId="a6e95797-5893-4261-9f10-8f81f198df75" providerId="ADAL" clId="{53F80C9B-833D-4693-AFD3-13DDAF0ECA52}" dt="2023-11-14T02:24:04.203" v="1109" actId="1076"/>
          <ac:spMkLst>
            <pc:docMk/>
            <pc:sldMk cId="1263379538" sldId="646"/>
            <ac:spMk id="67" creationId="{70F452E8-9F35-7DA1-76DA-FB37DEC36BC0}"/>
          </ac:spMkLst>
        </pc:spChg>
        <pc:spChg chg="mod">
          <ac:chgData name="Miraj Sinya" userId="a6e95797-5893-4261-9f10-8f81f198df75" providerId="ADAL" clId="{53F80C9B-833D-4693-AFD3-13DDAF0ECA52}" dt="2023-11-14T01:54:31.212" v="490" actId="165"/>
          <ac:spMkLst>
            <pc:docMk/>
            <pc:sldMk cId="1263379538" sldId="646"/>
            <ac:spMk id="70" creationId="{DEBEDECE-B196-6D1C-577B-3046B7903BCA}"/>
          </ac:spMkLst>
        </pc:spChg>
        <pc:spChg chg="mod">
          <ac:chgData name="Miraj Sinya" userId="a6e95797-5893-4261-9f10-8f81f198df75" providerId="ADAL" clId="{53F80C9B-833D-4693-AFD3-13DDAF0ECA52}" dt="2023-11-14T01:54:31.212" v="490" actId="165"/>
          <ac:spMkLst>
            <pc:docMk/>
            <pc:sldMk cId="1263379538" sldId="646"/>
            <ac:spMk id="71" creationId="{43B381E8-B107-33AE-AB8A-83AF411491FD}"/>
          </ac:spMkLst>
        </pc:spChg>
        <pc:spChg chg="add mod">
          <ac:chgData name="Miraj Sinya" userId="a6e95797-5893-4261-9f10-8f81f198df75" providerId="ADAL" clId="{53F80C9B-833D-4693-AFD3-13DDAF0ECA52}" dt="2023-11-14T02:30:09.102" v="1122" actId="14100"/>
          <ac:spMkLst>
            <pc:docMk/>
            <pc:sldMk cId="1263379538" sldId="646"/>
            <ac:spMk id="79" creationId="{C789C47E-103B-E69B-F517-60771C49A3BF}"/>
          </ac:spMkLst>
        </pc:spChg>
        <pc:spChg chg="add mod">
          <ac:chgData name="Miraj Sinya" userId="a6e95797-5893-4261-9f10-8f81f198df75" providerId="ADAL" clId="{53F80C9B-833D-4693-AFD3-13DDAF0ECA52}" dt="2023-11-14T02:01:45.556" v="643" actId="164"/>
          <ac:spMkLst>
            <pc:docMk/>
            <pc:sldMk cId="1263379538" sldId="646"/>
            <ac:spMk id="80" creationId="{379439F0-5CE4-AE71-4A16-8F93661F86BE}"/>
          </ac:spMkLst>
        </pc:spChg>
        <pc:spChg chg="add mod topLvl">
          <ac:chgData name="Miraj Sinya" userId="a6e95797-5893-4261-9f10-8f81f198df75" providerId="ADAL" clId="{53F80C9B-833D-4693-AFD3-13DDAF0ECA52}" dt="2023-11-14T02:29:41.225" v="1118" actId="1076"/>
          <ac:spMkLst>
            <pc:docMk/>
            <pc:sldMk cId="1263379538" sldId="646"/>
            <ac:spMk id="82" creationId="{663D0429-3333-2E98-9396-6E79F8257EFB}"/>
          </ac:spMkLst>
        </pc:spChg>
        <pc:spChg chg="add mod">
          <ac:chgData name="Miraj Sinya" userId="a6e95797-5893-4261-9f10-8f81f198df75" providerId="ADAL" clId="{53F80C9B-833D-4693-AFD3-13DDAF0ECA52}" dt="2023-11-14T01:55:53.666" v="498" actId="571"/>
          <ac:spMkLst>
            <pc:docMk/>
            <pc:sldMk cId="1263379538" sldId="646"/>
            <ac:spMk id="84" creationId="{6E49F6DC-0E2B-805D-88A2-0AA2079E1E7F}"/>
          </ac:spMkLst>
        </pc:spChg>
        <pc:spChg chg="add mod">
          <ac:chgData name="Miraj Sinya" userId="a6e95797-5893-4261-9f10-8f81f198df75" providerId="ADAL" clId="{53F80C9B-833D-4693-AFD3-13DDAF0ECA52}" dt="2023-11-14T01:55:53.666" v="498" actId="571"/>
          <ac:spMkLst>
            <pc:docMk/>
            <pc:sldMk cId="1263379538" sldId="646"/>
            <ac:spMk id="85" creationId="{E6D32777-B4DC-E4E1-91C7-F16602FD86DB}"/>
          </ac:spMkLst>
        </pc:spChg>
        <pc:spChg chg="add mod ord">
          <ac:chgData name="Miraj Sinya" userId="a6e95797-5893-4261-9f10-8f81f198df75" providerId="ADAL" clId="{53F80C9B-833D-4693-AFD3-13DDAF0ECA52}" dt="2023-11-14T02:28:49.952" v="1110" actId="1076"/>
          <ac:spMkLst>
            <pc:docMk/>
            <pc:sldMk cId="1263379538" sldId="646"/>
            <ac:spMk id="87" creationId="{0EF22154-67E2-66CE-25D8-254AA35A1A95}"/>
          </ac:spMkLst>
        </pc:spChg>
        <pc:spChg chg="add mod">
          <ac:chgData name="Miraj Sinya" userId="a6e95797-5893-4261-9f10-8f81f198df75" providerId="ADAL" clId="{53F80C9B-833D-4693-AFD3-13DDAF0ECA52}" dt="2023-11-14T02:28:49.952" v="1110" actId="1076"/>
          <ac:spMkLst>
            <pc:docMk/>
            <pc:sldMk cId="1263379538" sldId="646"/>
            <ac:spMk id="96" creationId="{5AD27F72-69B8-F7BD-C5CA-9D7656587CA0}"/>
          </ac:spMkLst>
        </pc:spChg>
        <pc:grpChg chg="add del mod">
          <ac:chgData name="Miraj Sinya" userId="a6e95797-5893-4261-9f10-8f81f198df75" providerId="ADAL" clId="{53F80C9B-833D-4693-AFD3-13DDAF0ECA52}" dt="2023-11-14T02:00:14.736" v="554" actId="165"/>
          <ac:grpSpMkLst>
            <pc:docMk/>
            <pc:sldMk cId="1263379538" sldId="646"/>
            <ac:grpSpMk id="3" creationId="{FC5DA47B-5AD9-6C56-DD83-2F39B50D9F0A}"/>
          </ac:grpSpMkLst>
        </pc:grpChg>
        <pc:grpChg chg="mod topLvl">
          <ac:chgData name="Miraj Sinya" userId="a6e95797-5893-4261-9f10-8f81f198df75" providerId="ADAL" clId="{53F80C9B-833D-4693-AFD3-13DDAF0ECA52}" dt="2023-11-14T02:00:21.560" v="559" actId="1035"/>
          <ac:grpSpMkLst>
            <pc:docMk/>
            <pc:sldMk cId="1263379538" sldId="646"/>
            <ac:grpSpMk id="5" creationId="{C9DA5E09-6429-D528-067A-13C6C05F5193}"/>
          </ac:grpSpMkLst>
        </pc:grpChg>
        <pc:grpChg chg="add mod topLvl">
          <ac:chgData name="Miraj Sinya" userId="a6e95797-5893-4261-9f10-8f81f198df75" providerId="ADAL" clId="{53F80C9B-833D-4693-AFD3-13DDAF0ECA52}" dt="2023-11-14T02:00:21.560" v="559" actId="1035"/>
          <ac:grpSpMkLst>
            <pc:docMk/>
            <pc:sldMk cId="1263379538" sldId="646"/>
            <ac:grpSpMk id="9" creationId="{AE6C7375-6E5E-7F42-E53F-8AEE52266884}"/>
          </ac:grpSpMkLst>
        </pc:grpChg>
        <pc:grpChg chg="add del mod">
          <ac:chgData name="Miraj Sinya" userId="a6e95797-5893-4261-9f10-8f81f198df75" providerId="ADAL" clId="{53F80C9B-833D-4693-AFD3-13DDAF0ECA52}" dt="2023-11-14T01:36:12.293" v="71" actId="165"/>
          <ac:grpSpMkLst>
            <pc:docMk/>
            <pc:sldMk cId="1263379538" sldId="646"/>
            <ac:grpSpMk id="17" creationId="{EA8400DA-7F96-02BE-E281-DD25CAFEDC1E}"/>
          </ac:grpSpMkLst>
        </pc:grpChg>
        <pc:grpChg chg="add mod topLvl">
          <ac:chgData name="Miraj Sinya" userId="a6e95797-5893-4261-9f10-8f81f198df75" providerId="ADAL" clId="{53F80C9B-833D-4693-AFD3-13DDAF0ECA52}" dt="2023-11-14T02:28:49.952" v="1110" actId="1076"/>
          <ac:grpSpMkLst>
            <pc:docMk/>
            <pc:sldMk cId="1263379538" sldId="646"/>
            <ac:grpSpMk id="29" creationId="{BA38460B-1AE9-953E-0CAD-9EA5AC1B782D}"/>
          </ac:grpSpMkLst>
        </pc:grpChg>
        <pc:grpChg chg="add mod">
          <ac:chgData name="Miraj Sinya" userId="a6e95797-5893-4261-9f10-8f81f198df75" providerId="ADAL" clId="{53F80C9B-833D-4693-AFD3-13DDAF0ECA52}" dt="2023-11-14T01:39:10.885" v="141" actId="164"/>
          <ac:grpSpMkLst>
            <pc:docMk/>
            <pc:sldMk cId="1263379538" sldId="646"/>
            <ac:grpSpMk id="30" creationId="{4DFB4BD9-B2F5-9F03-5A17-99BEFCFC64A4}"/>
          </ac:grpSpMkLst>
        </pc:grpChg>
        <pc:grpChg chg="add del mod">
          <ac:chgData name="Miraj Sinya" userId="a6e95797-5893-4261-9f10-8f81f198df75" providerId="ADAL" clId="{53F80C9B-833D-4693-AFD3-13DDAF0ECA52}" dt="2023-11-14T01:39:34.977" v="144" actId="165"/>
          <ac:grpSpMkLst>
            <pc:docMk/>
            <pc:sldMk cId="1263379538" sldId="646"/>
            <ac:grpSpMk id="31" creationId="{441CD116-38BE-7B9A-D25F-D5AAA3F6CD68}"/>
          </ac:grpSpMkLst>
        </pc:grpChg>
        <pc:grpChg chg="add mod topLvl">
          <ac:chgData name="Miraj Sinya" userId="a6e95797-5893-4261-9f10-8f81f198df75" providerId="ADAL" clId="{53F80C9B-833D-4693-AFD3-13DDAF0ECA52}" dt="2023-11-14T02:28:49.952" v="1110" actId="1076"/>
          <ac:grpSpMkLst>
            <pc:docMk/>
            <pc:sldMk cId="1263379538" sldId="646"/>
            <ac:grpSpMk id="34" creationId="{D80C22A8-CA94-BC00-6B3B-146213218B50}"/>
          </ac:grpSpMkLst>
        </pc:grpChg>
        <pc:grpChg chg="add mod topLvl">
          <ac:chgData name="Miraj Sinya" userId="a6e95797-5893-4261-9f10-8f81f198df75" providerId="ADAL" clId="{53F80C9B-833D-4693-AFD3-13DDAF0ECA52}" dt="2023-11-14T02:28:49.952" v="1110" actId="1076"/>
          <ac:grpSpMkLst>
            <pc:docMk/>
            <pc:sldMk cId="1263379538" sldId="646"/>
            <ac:grpSpMk id="38" creationId="{6626F88F-A99A-512C-18BF-473F1ABB0321}"/>
          </ac:grpSpMkLst>
        </pc:grpChg>
        <pc:grpChg chg="add del mod topLvl">
          <ac:chgData name="Miraj Sinya" userId="a6e95797-5893-4261-9f10-8f81f198df75" providerId="ADAL" clId="{53F80C9B-833D-4693-AFD3-13DDAF0ECA52}" dt="2023-11-14T02:06:29.033" v="714" actId="165"/>
          <ac:grpSpMkLst>
            <pc:docMk/>
            <pc:sldMk cId="1263379538" sldId="646"/>
            <ac:grpSpMk id="42" creationId="{3E2893EB-5889-8595-2C14-B22307E8CBC2}"/>
          </ac:grpSpMkLst>
        </pc:grpChg>
        <pc:grpChg chg="add mod topLvl">
          <ac:chgData name="Miraj Sinya" userId="a6e95797-5893-4261-9f10-8f81f198df75" providerId="ADAL" clId="{53F80C9B-833D-4693-AFD3-13DDAF0ECA52}" dt="2023-11-14T02:28:49.952" v="1110" actId="1076"/>
          <ac:grpSpMkLst>
            <pc:docMk/>
            <pc:sldMk cId="1263379538" sldId="646"/>
            <ac:grpSpMk id="45" creationId="{F54191AC-7B24-892A-4EAD-362A86CFC211}"/>
          </ac:grpSpMkLst>
        </pc:grpChg>
        <pc:grpChg chg="add mod">
          <ac:chgData name="Miraj Sinya" userId="a6e95797-5893-4261-9f10-8f81f198df75" providerId="ADAL" clId="{53F80C9B-833D-4693-AFD3-13DDAF0ECA52}" dt="2023-11-14T01:42:31.898" v="276" actId="571"/>
          <ac:grpSpMkLst>
            <pc:docMk/>
            <pc:sldMk cId="1263379538" sldId="646"/>
            <ac:grpSpMk id="48" creationId="{77C6976D-FD8E-1A26-ECB0-F9779DBF58C8}"/>
          </ac:grpSpMkLst>
        </pc:grpChg>
        <pc:grpChg chg="add mod topLvl">
          <ac:chgData name="Miraj Sinya" userId="a6e95797-5893-4261-9f10-8f81f198df75" providerId="ADAL" clId="{53F80C9B-833D-4693-AFD3-13DDAF0ECA52}" dt="2023-11-14T02:28:49.952" v="1110" actId="1076"/>
          <ac:grpSpMkLst>
            <pc:docMk/>
            <pc:sldMk cId="1263379538" sldId="646"/>
            <ac:grpSpMk id="61" creationId="{9B089737-921B-C496-9FD6-FF389AA25491}"/>
          </ac:grpSpMkLst>
        </pc:grpChg>
        <pc:grpChg chg="add mod topLvl">
          <ac:chgData name="Miraj Sinya" userId="a6e95797-5893-4261-9f10-8f81f198df75" providerId="ADAL" clId="{53F80C9B-833D-4693-AFD3-13DDAF0ECA52}" dt="2023-11-14T02:28:49.952" v="1110" actId="1076"/>
          <ac:grpSpMkLst>
            <pc:docMk/>
            <pc:sldMk cId="1263379538" sldId="646"/>
            <ac:grpSpMk id="65" creationId="{A7334C62-6A30-27F3-CDE3-B683B176B78A}"/>
          </ac:grpSpMkLst>
        </pc:grpChg>
        <pc:grpChg chg="add mod topLvl">
          <ac:chgData name="Miraj Sinya" userId="a6e95797-5893-4261-9f10-8f81f198df75" providerId="ADAL" clId="{53F80C9B-833D-4693-AFD3-13DDAF0ECA52}" dt="2023-11-14T02:28:49.952" v="1110" actId="1076"/>
          <ac:grpSpMkLst>
            <pc:docMk/>
            <pc:sldMk cId="1263379538" sldId="646"/>
            <ac:grpSpMk id="69" creationId="{BDE7173D-BF55-FB7B-0847-CC7AB19593B7}"/>
          </ac:grpSpMkLst>
        </pc:grpChg>
        <pc:grpChg chg="add del mod">
          <ac:chgData name="Miraj Sinya" userId="a6e95797-5893-4261-9f10-8f81f198df75" providerId="ADAL" clId="{53F80C9B-833D-4693-AFD3-13DDAF0ECA52}" dt="2023-11-14T01:54:31.212" v="490" actId="165"/>
          <ac:grpSpMkLst>
            <pc:docMk/>
            <pc:sldMk cId="1263379538" sldId="646"/>
            <ac:grpSpMk id="78" creationId="{AA00F38D-D28B-B00E-A926-40D081737A74}"/>
          </ac:grpSpMkLst>
        </pc:grpChg>
        <pc:grpChg chg="add mod">
          <ac:chgData name="Miraj Sinya" userId="a6e95797-5893-4261-9f10-8f81f198df75" providerId="ADAL" clId="{53F80C9B-833D-4693-AFD3-13DDAF0ECA52}" dt="2023-11-14T02:30:17.808" v="1123" actId="14100"/>
          <ac:grpSpMkLst>
            <pc:docMk/>
            <pc:sldMk cId="1263379538" sldId="646"/>
            <ac:grpSpMk id="97" creationId="{D55566E0-B6D3-291E-A7E7-C7ACBEE90938}"/>
          </ac:grpSpMkLst>
        </pc:grpChg>
        <pc:picChg chg="del mod">
          <ac:chgData name="Miraj Sinya" userId="a6e95797-5893-4261-9f10-8f81f198df75" providerId="ADAL" clId="{53F80C9B-833D-4693-AFD3-13DDAF0ECA52}" dt="2023-11-14T01:16:38.709" v="5" actId="478"/>
          <ac:picMkLst>
            <pc:docMk/>
            <pc:sldMk cId="1263379538" sldId="646"/>
            <ac:picMk id="3" creationId="{7FAD0618-2137-7E4F-F13D-B7F30BCE64AB}"/>
          </ac:picMkLst>
        </pc:picChg>
        <pc:picChg chg="del mod topLvl">
          <ac:chgData name="Miraj Sinya" userId="a6e95797-5893-4261-9f10-8f81f198df75" providerId="ADAL" clId="{53F80C9B-833D-4693-AFD3-13DDAF0ECA52}" dt="2023-11-14T01:37:50.276" v="96" actId="478"/>
          <ac:picMkLst>
            <pc:docMk/>
            <pc:sldMk cId="1263379538" sldId="646"/>
            <ac:picMk id="19" creationId="{10A33EF1-8604-9642-6E04-A767FE6D974A}"/>
          </ac:picMkLst>
        </pc:picChg>
        <pc:cxnChg chg="mod">
          <ac:chgData name="Miraj Sinya" userId="a6e95797-5893-4261-9f10-8f81f198df75" providerId="ADAL" clId="{53F80C9B-833D-4693-AFD3-13DDAF0ECA52}" dt="2023-11-14T02:00:14.736" v="554" actId="165"/>
          <ac:cxnSpMkLst>
            <pc:docMk/>
            <pc:sldMk cId="1263379538" sldId="646"/>
            <ac:cxnSpMk id="7" creationId="{4635D48C-3E25-116C-60E0-67327F7F63CF}"/>
          </ac:cxnSpMkLst>
        </pc:cxnChg>
        <pc:cxnChg chg="mod">
          <ac:chgData name="Miraj Sinya" userId="a6e95797-5893-4261-9f10-8f81f198df75" providerId="ADAL" clId="{53F80C9B-833D-4693-AFD3-13DDAF0ECA52}" dt="2023-11-14T02:00:14.736" v="554" actId="165"/>
          <ac:cxnSpMkLst>
            <pc:docMk/>
            <pc:sldMk cId="1263379538" sldId="646"/>
            <ac:cxnSpMk id="11" creationId="{D885938B-96B3-4E84-BDD1-D9C880581C51}"/>
          </ac:cxnSpMkLst>
        </pc:cxnChg>
        <pc:cxnChg chg="add del mod">
          <ac:chgData name="Miraj Sinya" userId="a6e95797-5893-4261-9f10-8f81f198df75" providerId="ADAL" clId="{53F80C9B-833D-4693-AFD3-13DDAF0ECA52}" dt="2023-11-14T01:35:38.109" v="60"/>
          <ac:cxnSpMkLst>
            <pc:docMk/>
            <pc:sldMk cId="1263379538" sldId="646"/>
            <ac:cxnSpMk id="16" creationId="{E7C81E10-51EE-A7E1-CE48-BB10CFC5E5B6}"/>
          </ac:cxnSpMkLst>
        </pc:cxnChg>
        <pc:cxnChg chg="mod topLvl">
          <ac:chgData name="Miraj Sinya" userId="a6e95797-5893-4261-9f10-8f81f198df75" providerId="ADAL" clId="{53F80C9B-833D-4693-AFD3-13DDAF0ECA52}" dt="2023-11-14T02:28:49.952" v="1110" actId="1076"/>
          <ac:cxnSpMkLst>
            <pc:docMk/>
            <pc:sldMk cId="1263379538" sldId="646"/>
            <ac:cxnSpMk id="24" creationId="{14A2D170-A664-8BC5-FEC9-D9EC96C47530}"/>
          </ac:cxnSpMkLst>
        </pc:cxnChg>
        <pc:cxnChg chg="mod topLvl">
          <ac:chgData name="Miraj Sinya" userId="a6e95797-5893-4261-9f10-8f81f198df75" providerId="ADAL" clId="{53F80C9B-833D-4693-AFD3-13DDAF0ECA52}" dt="2023-11-14T02:28:49.952" v="1110" actId="1076"/>
          <ac:cxnSpMkLst>
            <pc:docMk/>
            <pc:sldMk cId="1263379538" sldId="646"/>
            <ac:cxnSpMk id="25" creationId="{6DEDBCF5-1439-CD64-C463-2E69D815C378}"/>
          </ac:cxnSpMkLst>
        </pc:cxnChg>
        <pc:cxnChg chg="add mod topLvl">
          <ac:chgData name="Miraj Sinya" userId="a6e95797-5893-4261-9f10-8f81f198df75" providerId="ADAL" clId="{53F80C9B-833D-4693-AFD3-13DDAF0ECA52}" dt="2023-11-14T02:28:49.952" v="1110" actId="1076"/>
          <ac:cxnSpMkLst>
            <pc:docMk/>
            <pc:sldMk cId="1263379538" sldId="646"/>
            <ac:cxnSpMk id="32" creationId="{A104217B-82E9-D557-7CB0-6058E4B20FFA}"/>
          </ac:cxnSpMkLst>
        </pc:cxnChg>
        <pc:cxnChg chg="add mod topLvl">
          <ac:chgData name="Miraj Sinya" userId="a6e95797-5893-4261-9f10-8f81f198df75" providerId="ADAL" clId="{53F80C9B-833D-4693-AFD3-13DDAF0ECA52}" dt="2023-11-14T02:28:49.952" v="1110" actId="1076"/>
          <ac:cxnSpMkLst>
            <pc:docMk/>
            <pc:sldMk cId="1263379538" sldId="646"/>
            <ac:cxnSpMk id="37" creationId="{EA196419-0ED4-5877-80C4-0C6119D35B47}"/>
          </ac:cxnSpMkLst>
        </pc:cxnChg>
        <pc:cxnChg chg="add mod topLvl">
          <ac:chgData name="Miraj Sinya" userId="a6e95797-5893-4261-9f10-8f81f198df75" providerId="ADAL" clId="{53F80C9B-833D-4693-AFD3-13DDAF0ECA52}" dt="2023-11-14T02:28:49.952" v="1110" actId="1076"/>
          <ac:cxnSpMkLst>
            <pc:docMk/>
            <pc:sldMk cId="1263379538" sldId="646"/>
            <ac:cxnSpMk id="41" creationId="{4E40DFD1-006B-308B-FFBA-FC0C3EA1F149}"/>
          </ac:cxnSpMkLst>
        </pc:cxnChg>
        <pc:cxnChg chg="add mod topLvl">
          <ac:chgData name="Miraj Sinya" userId="a6e95797-5893-4261-9f10-8f81f198df75" providerId="ADAL" clId="{53F80C9B-833D-4693-AFD3-13DDAF0ECA52}" dt="2023-11-14T02:28:49.952" v="1110" actId="1076"/>
          <ac:cxnSpMkLst>
            <pc:docMk/>
            <pc:sldMk cId="1263379538" sldId="646"/>
            <ac:cxnSpMk id="51" creationId="{B9D74ED2-EE3A-AE5F-86A1-2D17EBF09FA4}"/>
          </ac:cxnSpMkLst>
        </pc:cxnChg>
        <pc:cxnChg chg="add mod topLvl">
          <ac:chgData name="Miraj Sinya" userId="a6e95797-5893-4261-9f10-8f81f198df75" providerId="ADAL" clId="{53F80C9B-833D-4693-AFD3-13DDAF0ECA52}" dt="2023-11-14T02:28:49.952" v="1110" actId="1076"/>
          <ac:cxnSpMkLst>
            <pc:docMk/>
            <pc:sldMk cId="1263379538" sldId="646"/>
            <ac:cxnSpMk id="52" creationId="{69D6D1DD-5923-71CE-8669-064D8A34099A}"/>
          </ac:cxnSpMkLst>
        </pc:cxnChg>
        <pc:cxnChg chg="add mod topLvl">
          <ac:chgData name="Miraj Sinya" userId="a6e95797-5893-4261-9f10-8f81f198df75" providerId="ADAL" clId="{53F80C9B-833D-4693-AFD3-13DDAF0ECA52}" dt="2023-11-14T02:28:49.952" v="1110" actId="1076"/>
          <ac:cxnSpMkLst>
            <pc:docMk/>
            <pc:sldMk cId="1263379538" sldId="646"/>
            <ac:cxnSpMk id="64" creationId="{3771A3C5-8A69-A5A0-B12F-AC40A77C2E93}"/>
          </ac:cxnSpMkLst>
        </pc:cxnChg>
        <pc:cxnChg chg="add mod topLvl">
          <ac:chgData name="Miraj Sinya" userId="a6e95797-5893-4261-9f10-8f81f198df75" providerId="ADAL" clId="{53F80C9B-833D-4693-AFD3-13DDAF0ECA52}" dt="2023-11-14T02:28:49.952" v="1110" actId="1076"/>
          <ac:cxnSpMkLst>
            <pc:docMk/>
            <pc:sldMk cId="1263379538" sldId="646"/>
            <ac:cxnSpMk id="68" creationId="{5F944B85-2668-4B0B-6532-7B45B7E9C47A}"/>
          </ac:cxnSpMkLst>
        </pc:cxnChg>
        <pc:cxnChg chg="add del">
          <ac:chgData name="Miraj Sinya" userId="a6e95797-5893-4261-9f10-8f81f198df75" providerId="ADAL" clId="{53F80C9B-833D-4693-AFD3-13DDAF0ECA52}" dt="2023-11-14T01:48:57.448" v="416" actId="11529"/>
          <ac:cxnSpMkLst>
            <pc:docMk/>
            <pc:sldMk cId="1263379538" sldId="646"/>
            <ac:cxnSpMk id="73" creationId="{318D2A8D-B64A-AE92-5E8C-A0579FFF192B}"/>
          </ac:cxnSpMkLst>
        </pc:cxnChg>
        <pc:cxnChg chg="add mod topLvl">
          <ac:chgData name="Miraj Sinya" userId="a6e95797-5893-4261-9f10-8f81f198df75" providerId="ADAL" clId="{53F80C9B-833D-4693-AFD3-13DDAF0ECA52}" dt="2023-11-14T02:28:49.952" v="1110" actId="1076"/>
          <ac:cxnSpMkLst>
            <pc:docMk/>
            <pc:sldMk cId="1263379538" sldId="646"/>
            <ac:cxnSpMk id="75" creationId="{F5A91494-3F4F-6D0F-55AF-64B825FBDBB3}"/>
          </ac:cxnSpMkLst>
        </pc:cxnChg>
        <pc:cxnChg chg="add mod topLvl">
          <ac:chgData name="Miraj Sinya" userId="a6e95797-5893-4261-9f10-8f81f198df75" providerId="ADAL" clId="{53F80C9B-833D-4693-AFD3-13DDAF0ECA52}" dt="2023-11-14T02:29:45.971" v="1121" actId="1037"/>
          <ac:cxnSpMkLst>
            <pc:docMk/>
            <pc:sldMk cId="1263379538" sldId="646"/>
            <ac:cxnSpMk id="81" creationId="{0C8F65F9-DDCE-93D7-6584-4685D8989EC4}"/>
          </ac:cxnSpMkLst>
        </pc:cxnChg>
      </pc:sldChg>
      <pc:sldChg chg="modSp mod">
        <pc:chgData name="Miraj Sinya" userId="a6e95797-5893-4261-9f10-8f81f198df75" providerId="ADAL" clId="{53F80C9B-833D-4693-AFD3-13DDAF0ECA52}" dt="2023-11-14T04:00:30.364" v="1949" actId="20577"/>
        <pc:sldMkLst>
          <pc:docMk/>
          <pc:sldMk cId="1805925449" sldId="647"/>
        </pc:sldMkLst>
        <pc:spChg chg="mod">
          <ac:chgData name="Miraj Sinya" userId="a6e95797-5893-4261-9f10-8f81f198df75" providerId="ADAL" clId="{53F80C9B-833D-4693-AFD3-13DDAF0ECA52}" dt="2023-11-14T04:00:30.364" v="1949" actId="20577"/>
          <ac:spMkLst>
            <pc:docMk/>
            <pc:sldMk cId="1805925449" sldId="647"/>
            <ac:spMk id="2" creationId="{E8658777-667C-23FD-B628-9D980AB21626}"/>
          </ac:spMkLst>
        </pc:spChg>
      </pc:sldChg>
      <pc:sldChg chg="addSp delSp modSp new del">
        <pc:chgData name="Miraj Sinya" userId="a6e95797-5893-4261-9f10-8f81f198df75" providerId="ADAL" clId="{53F80C9B-833D-4693-AFD3-13DDAF0ECA52}" dt="2023-11-14T02:21:01.389" v="1106" actId="47"/>
        <pc:sldMkLst>
          <pc:docMk/>
          <pc:sldMk cId="3740904602" sldId="648"/>
        </pc:sldMkLst>
        <pc:spChg chg="mod topLvl">
          <ac:chgData name="Miraj Sinya" userId="a6e95797-5893-4261-9f10-8f81f198df75" providerId="ADAL" clId="{53F80C9B-833D-4693-AFD3-13DDAF0ECA52}" dt="2023-11-14T01:34:06.590" v="50" actId="165"/>
          <ac:spMkLst>
            <pc:docMk/>
            <pc:sldMk cId="3740904602" sldId="648"/>
            <ac:spMk id="17" creationId="{EDB66C5E-06EB-DC2E-FCAA-DA7E55C548D3}"/>
          </ac:spMkLst>
        </pc:spChg>
        <pc:spChg chg="mod topLvl">
          <ac:chgData name="Miraj Sinya" userId="a6e95797-5893-4261-9f10-8f81f198df75" providerId="ADAL" clId="{53F80C9B-833D-4693-AFD3-13DDAF0ECA52}" dt="2023-11-14T01:34:06.590" v="50" actId="165"/>
          <ac:spMkLst>
            <pc:docMk/>
            <pc:sldMk cId="3740904602" sldId="648"/>
            <ac:spMk id="18" creationId="{70EFEC25-6402-F75A-3A33-EE85D2FBEC18}"/>
          </ac:spMkLst>
        </pc:spChg>
        <pc:spChg chg="mod topLvl">
          <ac:chgData name="Miraj Sinya" userId="a6e95797-5893-4261-9f10-8f81f198df75" providerId="ADAL" clId="{53F80C9B-833D-4693-AFD3-13DDAF0ECA52}" dt="2023-11-14T01:34:06.863" v="51" actId="165"/>
          <ac:spMkLst>
            <pc:docMk/>
            <pc:sldMk cId="3740904602" sldId="648"/>
            <ac:spMk id="20" creationId="{DABCCC66-ED3F-C943-9EC8-6238FA5889D6}"/>
          </ac:spMkLst>
        </pc:spChg>
        <pc:spChg chg="mod topLvl">
          <ac:chgData name="Miraj Sinya" userId="a6e95797-5893-4261-9f10-8f81f198df75" providerId="ADAL" clId="{53F80C9B-833D-4693-AFD3-13DDAF0ECA52}" dt="2023-11-14T01:34:06.863" v="51" actId="165"/>
          <ac:spMkLst>
            <pc:docMk/>
            <pc:sldMk cId="3740904602" sldId="648"/>
            <ac:spMk id="21" creationId="{55D3572D-9590-B352-E2C8-1DC425440E1B}"/>
          </ac:spMkLst>
        </pc:spChg>
        <pc:spChg chg="mod topLvl">
          <ac:chgData name="Miraj Sinya" userId="a6e95797-5893-4261-9f10-8f81f198df75" providerId="ADAL" clId="{53F80C9B-833D-4693-AFD3-13DDAF0ECA52}" dt="2023-11-14T01:35:43.463" v="61" actId="164"/>
          <ac:spMkLst>
            <pc:docMk/>
            <pc:sldMk cId="3740904602" sldId="648"/>
            <ac:spMk id="22" creationId="{B0E90FC1-2FA4-BF72-3EFF-C4A6A257A6B0}"/>
          </ac:spMkLst>
        </pc:spChg>
        <pc:spChg chg="mod topLvl">
          <ac:chgData name="Miraj Sinya" userId="a6e95797-5893-4261-9f10-8f81f198df75" providerId="ADAL" clId="{53F80C9B-833D-4693-AFD3-13DDAF0ECA52}" dt="2023-11-14T01:35:43.463" v="61" actId="164"/>
          <ac:spMkLst>
            <pc:docMk/>
            <pc:sldMk cId="3740904602" sldId="648"/>
            <ac:spMk id="23" creationId="{A52F70E9-48C7-DF87-73D3-772E00F2CB47}"/>
          </ac:spMkLst>
        </pc:spChg>
        <pc:spChg chg="mod topLvl">
          <ac:chgData name="Miraj Sinya" userId="a6e95797-5893-4261-9f10-8f81f198df75" providerId="ADAL" clId="{53F80C9B-833D-4693-AFD3-13DDAF0ECA52}" dt="2023-11-14T01:35:43.463" v="61" actId="164"/>
          <ac:spMkLst>
            <pc:docMk/>
            <pc:sldMk cId="3740904602" sldId="648"/>
            <ac:spMk id="24" creationId="{BEE94AA2-A3F1-A879-A3F1-498E08B4EB64}"/>
          </ac:spMkLst>
        </pc:spChg>
        <pc:spChg chg="mod topLvl">
          <ac:chgData name="Miraj Sinya" userId="a6e95797-5893-4261-9f10-8f81f198df75" providerId="ADAL" clId="{53F80C9B-833D-4693-AFD3-13DDAF0ECA52}" dt="2023-11-14T01:35:43.463" v="61" actId="164"/>
          <ac:spMkLst>
            <pc:docMk/>
            <pc:sldMk cId="3740904602" sldId="648"/>
            <ac:spMk id="25" creationId="{FBD13868-6C76-ADB7-1FAF-AB4364301396}"/>
          </ac:spMkLst>
        </pc:spChg>
        <pc:spChg chg="mod topLvl">
          <ac:chgData name="Miraj Sinya" userId="a6e95797-5893-4261-9f10-8f81f198df75" providerId="ADAL" clId="{53F80C9B-833D-4693-AFD3-13DDAF0ECA52}" dt="2023-11-14T01:34:06.002" v="48" actId="165"/>
          <ac:spMkLst>
            <pc:docMk/>
            <pc:sldMk cId="3740904602" sldId="648"/>
            <ac:spMk id="26" creationId="{95FA9770-1A19-4138-3890-AB9ADDA28FB4}"/>
          </ac:spMkLst>
        </pc:spChg>
        <pc:spChg chg="mod topLvl">
          <ac:chgData name="Miraj Sinya" userId="a6e95797-5893-4261-9f10-8f81f198df75" providerId="ADAL" clId="{53F80C9B-833D-4693-AFD3-13DDAF0ECA52}" dt="2023-11-14T01:35:43.463" v="61" actId="164"/>
          <ac:spMkLst>
            <pc:docMk/>
            <pc:sldMk cId="3740904602" sldId="648"/>
            <ac:spMk id="27" creationId="{3B994D80-E863-3B3A-AD01-5ADCB633A653}"/>
          </ac:spMkLst>
        </pc:spChg>
        <pc:spChg chg="mod topLvl">
          <ac:chgData name="Miraj Sinya" userId="a6e95797-5893-4261-9f10-8f81f198df75" providerId="ADAL" clId="{53F80C9B-833D-4693-AFD3-13DDAF0ECA52}" dt="2023-11-14T01:34:12.369" v="55" actId="165"/>
          <ac:spMkLst>
            <pc:docMk/>
            <pc:sldMk cId="3740904602" sldId="648"/>
            <ac:spMk id="39" creationId="{2A2CE60F-370B-10D5-E3A1-0ABDA33142C4}"/>
          </ac:spMkLst>
        </pc:spChg>
        <pc:spChg chg="mod topLvl">
          <ac:chgData name="Miraj Sinya" userId="a6e95797-5893-4261-9f10-8f81f198df75" providerId="ADAL" clId="{53F80C9B-833D-4693-AFD3-13DDAF0ECA52}" dt="2023-11-14T01:34:12.369" v="55" actId="165"/>
          <ac:spMkLst>
            <pc:docMk/>
            <pc:sldMk cId="3740904602" sldId="648"/>
            <ac:spMk id="40" creationId="{397398BD-ED77-E293-2E63-3242EB426120}"/>
          </ac:spMkLst>
        </pc:spChg>
        <pc:spChg chg="mod topLvl">
          <ac:chgData name="Miraj Sinya" userId="a6e95797-5893-4261-9f10-8f81f198df75" providerId="ADAL" clId="{53F80C9B-833D-4693-AFD3-13DDAF0ECA52}" dt="2023-11-14T01:34:12.369" v="55" actId="165"/>
          <ac:spMkLst>
            <pc:docMk/>
            <pc:sldMk cId="3740904602" sldId="648"/>
            <ac:spMk id="41" creationId="{DABFB7F0-BF0D-6A6D-F95B-B4266A4FE18A}"/>
          </ac:spMkLst>
        </pc:spChg>
        <pc:spChg chg="mod topLvl">
          <ac:chgData name="Miraj Sinya" userId="a6e95797-5893-4261-9f10-8f81f198df75" providerId="ADAL" clId="{53F80C9B-833D-4693-AFD3-13DDAF0ECA52}" dt="2023-11-14T01:34:12.369" v="55" actId="165"/>
          <ac:spMkLst>
            <pc:docMk/>
            <pc:sldMk cId="3740904602" sldId="648"/>
            <ac:spMk id="42" creationId="{8539321E-6A42-0D25-1437-E0A4A4AEFCEE}"/>
          </ac:spMkLst>
        </pc:spChg>
        <pc:spChg chg="mod">
          <ac:chgData name="Miraj Sinya" userId="a6e95797-5893-4261-9f10-8f81f198df75" providerId="ADAL" clId="{53F80C9B-833D-4693-AFD3-13DDAF0ECA52}" dt="2023-11-14T01:34:12.369" v="55" actId="165"/>
          <ac:spMkLst>
            <pc:docMk/>
            <pc:sldMk cId="3740904602" sldId="648"/>
            <ac:spMk id="44" creationId="{9F5F9F75-5DFA-A747-4987-A655081E068E}"/>
          </ac:spMkLst>
        </pc:spChg>
        <pc:spChg chg="mod">
          <ac:chgData name="Miraj Sinya" userId="a6e95797-5893-4261-9f10-8f81f198df75" providerId="ADAL" clId="{53F80C9B-833D-4693-AFD3-13DDAF0ECA52}" dt="2023-11-14T01:34:12.369" v="55" actId="165"/>
          <ac:spMkLst>
            <pc:docMk/>
            <pc:sldMk cId="3740904602" sldId="648"/>
            <ac:spMk id="45" creationId="{C7A22D3D-D645-7EF6-E8FC-EB1585CA4876}"/>
          </ac:spMkLst>
        </pc:spChg>
        <pc:spChg chg="mod topLvl">
          <ac:chgData name="Miraj Sinya" userId="a6e95797-5893-4261-9f10-8f81f198df75" providerId="ADAL" clId="{53F80C9B-833D-4693-AFD3-13DDAF0ECA52}" dt="2023-11-14T01:34:12.369" v="55" actId="165"/>
          <ac:spMkLst>
            <pc:docMk/>
            <pc:sldMk cId="3740904602" sldId="648"/>
            <ac:spMk id="46" creationId="{AA46E5EF-7B5E-A812-383F-5FA42CEC45DB}"/>
          </ac:spMkLst>
        </pc:spChg>
        <pc:spChg chg="mod topLvl">
          <ac:chgData name="Miraj Sinya" userId="a6e95797-5893-4261-9f10-8f81f198df75" providerId="ADAL" clId="{53F80C9B-833D-4693-AFD3-13DDAF0ECA52}" dt="2023-11-14T01:34:12.369" v="55" actId="165"/>
          <ac:spMkLst>
            <pc:docMk/>
            <pc:sldMk cId="3740904602" sldId="648"/>
            <ac:spMk id="47" creationId="{7F84315A-075B-BF0E-8904-ABBC316875C8}"/>
          </ac:spMkLst>
        </pc:spChg>
        <pc:spChg chg="mod">
          <ac:chgData name="Miraj Sinya" userId="a6e95797-5893-4261-9f10-8f81f198df75" providerId="ADAL" clId="{53F80C9B-833D-4693-AFD3-13DDAF0ECA52}" dt="2023-11-14T01:34:12.369" v="55" actId="165"/>
          <ac:spMkLst>
            <pc:docMk/>
            <pc:sldMk cId="3740904602" sldId="648"/>
            <ac:spMk id="49" creationId="{7C8639F3-F00E-128B-4655-479085294B4A}"/>
          </ac:spMkLst>
        </pc:spChg>
        <pc:spChg chg="mod">
          <ac:chgData name="Miraj Sinya" userId="a6e95797-5893-4261-9f10-8f81f198df75" providerId="ADAL" clId="{53F80C9B-833D-4693-AFD3-13DDAF0ECA52}" dt="2023-11-14T01:34:12.369" v="55" actId="165"/>
          <ac:spMkLst>
            <pc:docMk/>
            <pc:sldMk cId="3740904602" sldId="648"/>
            <ac:spMk id="50" creationId="{43078B92-A815-189E-C259-C72C0F910515}"/>
          </ac:spMkLst>
        </pc:spChg>
        <pc:spChg chg="mod topLvl">
          <ac:chgData name="Miraj Sinya" userId="a6e95797-5893-4261-9f10-8f81f198df75" providerId="ADAL" clId="{53F80C9B-833D-4693-AFD3-13DDAF0ECA52}" dt="2023-11-14T01:34:12.369" v="55" actId="165"/>
          <ac:spMkLst>
            <pc:docMk/>
            <pc:sldMk cId="3740904602" sldId="648"/>
            <ac:spMk id="51" creationId="{BB727AAB-AA91-B32E-01B6-34E85F02FA98}"/>
          </ac:spMkLst>
        </pc:spChg>
        <pc:spChg chg="mod topLvl">
          <ac:chgData name="Miraj Sinya" userId="a6e95797-5893-4261-9f10-8f81f198df75" providerId="ADAL" clId="{53F80C9B-833D-4693-AFD3-13DDAF0ECA52}" dt="2023-11-14T01:34:12.369" v="55" actId="165"/>
          <ac:spMkLst>
            <pc:docMk/>
            <pc:sldMk cId="3740904602" sldId="648"/>
            <ac:spMk id="52" creationId="{F76373D0-B0C9-2DFE-2226-1F0AA3134BFF}"/>
          </ac:spMkLst>
        </pc:spChg>
        <pc:spChg chg="mod topLvl">
          <ac:chgData name="Miraj Sinya" userId="a6e95797-5893-4261-9f10-8f81f198df75" providerId="ADAL" clId="{53F80C9B-833D-4693-AFD3-13DDAF0ECA52}" dt="2023-11-14T01:34:12.184" v="54" actId="165"/>
          <ac:spMkLst>
            <pc:docMk/>
            <pc:sldMk cId="3740904602" sldId="648"/>
            <ac:spMk id="53" creationId="{8A163D80-769C-6D34-66C4-0FCBEF190115}"/>
          </ac:spMkLst>
        </pc:spChg>
        <pc:spChg chg="mod topLvl">
          <ac:chgData name="Miraj Sinya" userId="a6e95797-5893-4261-9f10-8f81f198df75" providerId="ADAL" clId="{53F80C9B-833D-4693-AFD3-13DDAF0ECA52}" dt="2023-11-14T01:34:12.184" v="54" actId="165"/>
          <ac:spMkLst>
            <pc:docMk/>
            <pc:sldMk cId="3740904602" sldId="648"/>
            <ac:spMk id="54" creationId="{8A540D84-43C9-39A0-F82A-656B4FC2F39E}"/>
          </ac:spMkLst>
        </pc:spChg>
        <pc:spChg chg="mod topLvl">
          <ac:chgData name="Miraj Sinya" userId="a6e95797-5893-4261-9f10-8f81f198df75" providerId="ADAL" clId="{53F80C9B-833D-4693-AFD3-13DDAF0ECA52}" dt="2023-11-14T01:34:09.588" v="52" actId="165"/>
          <ac:spMkLst>
            <pc:docMk/>
            <pc:sldMk cId="3740904602" sldId="648"/>
            <ac:spMk id="55" creationId="{77B883BB-0414-2F1F-93DF-B142D9262D1C}"/>
          </ac:spMkLst>
        </pc:spChg>
        <pc:spChg chg="mod topLvl">
          <ac:chgData name="Miraj Sinya" userId="a6e95797-5893-4261-9f10-8f81f198df75" providerId="ADAL" clId="{53F80C9B-833D-4693-AFD3-13DDAF0ECA52}" dt="2023-11-14T01:34:09.588" v="52" actId="165"/>
          <ac:spMkLst>
            <pc:docMk/>
            <pc:sldMk cId="3740904602" sldId="648"/>
            <ac:spMk id="56" creationId="{A5BEA63F-0815-7E57-0ED3-2C6425AF6573}"/>
          </ac:spMkLst>
        </pc:spChg>
        <pc:grpChg chg="add del mod">
          <ac:chgData name="Miraj Sinya" userId="a6e95797-5893-4261-9f10-8f81f198df75" providerId="ADAL" clId="{53F80C9B-833D-4693-AFD3-13DDAF0ECA52}" dt="2023-11-14T01:34:05.086" v="46" actId="165"/>
          <ac:grpSpMkLst>
            <pc:docMk/>
            <pc:sldMk cId="3740904602" sldId="648"/>
            <ac:grpSpMk id="3" creationId="{89A57903-2954-00C6-1CBB-2A605981283A}"/>
          </ac:grpSpMkLst>
        </pc:grpChg>
        <pc:grpChg chg="del mod topLvl">
          <ac:chgData name="Miraj Sinya" userId="a6e95797-5893-4261-9f10-8f81f198df75" providerId="ADAL" clId="{53F80C9B-833D-4693-AFD3-13DDAF0ECA52}" dt="2023-11-14T01:34:05.598" v="47" actId="165"/>
          <ac:grpSpMkLst>
            <pc:docMk/>
            <pc:sldMk cId="3740904602" sldId="648"/>
            <ac:grpSpMk id="4" creationId="{FD1A403C-15F3-1DDE-C1EB-448AE2A96119}"/>
          </ac:grpSpMkLst>
        </pc:grpChg>
        <pc:grpChg chg="del mod topLvl">
          <ac:chgData name="Miraj Sinya" userId="a6e95797-5893-4261-9f10-8f81f198df75" providerId="ADAL" clId="{53F80C9B-833D-4693-AFD3-13DDAF0ECA52}" dt="2023-11-14T01:34:05.598" v="47" actId="165"/>
          <ac:grpSpMkLst>
            <pc:docMk/>
            <pc:sldMk cId="3740904602" sldId="648"/>
            <ac:grpSpMk id="5" creationId="{CC82A07C-FA2A-AA62-D4DF-4CFD10D9BF2A}"/>
          </ac:grpSpMkLst>
        </pc:grpChg>
        <pc:grpChg chg="del mod topLvl">
          <ac:chgData name="Miraj Sinya" userId="a6e95797-5893-4261-9f10-8f81f198df75" providerId="ADAL" clId="{53F80C9B-833D-4693-AFD3-13DDAF0ECA52}" dt="2023-11-14T01:34:06.002" v="48" actId="165"/>
          <ac:grpSpMkLst>
            <pc:docMk/>
            <pc:sldMk cId="3740904602" sldId="648"/>
            <ac:grpSpMk id="6" creationId="{D8B14077-D913-1C88-DD48-2097D47AC833}"/>
          </ac:grpSpMkLst>
        </pc:grpChg>
        <pc:grpChg chg="del mod topLvl">
          <ac:chgData name="Miraj Sinya" userId="a6e95797-5893-4261-9f10-8f81f198df75" providerId="ADAL" clId="{53F80C9B-833D-4693-AFD3-13DDAF0ECA52}" dt="2023-11-14T01:34:06.002" v="48" actId="165"/>
          <ac:grpSpMkLst>
            <pc:docMk/>
            <pc:sldMk cId="3740904602" sldId="648"/>
            <ac:grpSpMk id="7" creationId="{1ADA717E-0619-BEED-FABC-910F2A100C06}"/>
          </ac:grpSpMkLst>
        </pc:grpChg>
        <pc:grpChg chg="del mod topLvl">
          <ac:chgData name="Miraj Sinya" userId="a6e95797-5893-4261-9f10-8f81f198df75" providerId="ADAL" clId="{53F80C9B-833D-4693-AFD3-13DDAF0ECA52}" dt="2023-11-14T01:34:06.351" v="49" actId="165"/>
          <ac:grpSpMkLst>
            <pc:docMk/>
            <pc:sldMk cId="3740904602" sldId="648"/>
            <ac:grpSpMk id="10" creationId="{C8C6BF15-E2CF-7F1A-C897-6FD2A9D0E4E4}"/>
          </ac:grpSpMkLst>
        </pc:grpChg>
        <pc:grpChg chg="del mod topLvl">
          <ac:chgData name="Miraj Sinya" userId="a6e95797-5893-4261-9f10-8f81f198df75" providerId="ADAL" clId="{53F80C9B-833D-4693-AFD3-13DDAF0ECA52}" dt="2023-11-14T01:34:06.590" v="50" actId="165"/>
          <ac:grpSpMkLst>
            <pc:docMk/>
            <pc:sldMk cId="3740904602" sldId="648"/>
            <ac:grpSpMk id="12" creationId="{9E793EDC-8989-9A99-3D0B-3C2FCAD2B510}"/>
          </ac:grpSpMkLst>
        </pc:grpChg>
        <pc:grpChg chg="del mod topLvl">
          <ac:chgData name="Miraj Sinya" userId="a6e95797-5893-4261-9f10-8f81f198df75" providerId="ADAL" clId="{53F80C9B-833D-4693-AFD3-13DDAF0ECA52}" dt="2023-11-14T01:34:06.590" v="50" actId="165"/>
          <ac:grpSpMkLst>
            <pc:docMk/>
            <pc:sldMk cId="3740904602" sldId="648"/>
            <ac:grpSpMk id="13" creationId="{8C5B06AA-F6A1-9878-C343-223A57091BC4}"/>
          </ac:grpSpMkLst>
        </pc:grpChg>
        <pc:grpChg chg="del mod topLvl">
          <ac:chgData name="Miraj Sinya" userId="a6e95797-5893-4261-9f10-8f81f198df75" providerId="ADAL" clId="{53F80C9B-833D-4693-AFD3-13DDAF0ECA52}" dt="2023-11-14T01:34:06.590" v="50" actId="165"/>
          <ac:grpSpMkLst>
            <pc:docMk/>
            <pc:sldMk cId="3740904602" sldId="648"/>
            <ac:grpSpMk id="16" creationId="{44BAAD35-218C-BE65-82A9-297CC6548C3A}"/>
          </ac:grpSpMkLst>
        </pc:grpChg>
        <pc:grpChg chg="del mod topLvl">
          <ac:chgData name="Miraj Sinya" userId="a6e95797-5893-4261-9f10-8f81f198df75" providerId="ADAL" clId="{53F80C9B-833D-4693-AFD3-13DDAF0ECA52}" dt="2023-11-14T01:34:06.863" v="51" actId="165"/>
          <ac:grpSpMkLst>
            <pc:docMk/>
            <pc:sldMk cId="3740904602" sldId="648"/>
            <ac:grpSpMk id="19" creationId="{D2465839-579F-4040-363B-9063CFFB9595}"/>
          </ac:grpSpMkLst>
        </pc:grpChg>
        <pc:grpChg chg="del mod topLvl">
          <ac:chgData name="Miraj Sinya" userId="a6e95797-5893-4261-9f10-8f81f198df75" providerId="ADAL" clId="{53F80C9B-833D-4693-AFD3-13DDAF0ECA52}" dt="2023-11-14T01:34:09.588" v="52" actId="165"/>
          <ac:grpSpMkLst>
            <pc:docMk/>
            <pc:sldMk cId="3740904602" sldId="648"/>
            <ac:grpSpMk id="28" creationId="{D2E50A19-40A3-45B9-F08E-6880BB1219A3}"/>
          </ac:grpSpMkLst>
        </pc:grpChg>
        <pc:grpChg chg="del mod topLvl">
          <ac:chgData name="Miraj Sinya" userId="a6e95797-5893-4261-9f10-8f81f198df75" providerId="ADAL" clId="{53F80C9B-833D-4693-AFD3-13DDAF0ECA52}" dt="2023-11-14T01:34:11.882" v="53" actId="165"/>
          <ac:grpSpMkLst>
            <pc:docMk/>
            <pc:sldMk cId="3740904602" sldId="648"/>
            <ac:grpSpMk id="29" creationId="{EDA206C3-3117-D9A6-E02D-CBECDE0E1F0F}"/>
          </ac:grpSpMkLst>
        </pc:grpChg>
        <pc:grpChg chg="del mod topLvl">
          <ac:chgData name="Miraj Sinya" userId="a6e95797-5893-4261-9f10-8f81f198df75" providerId="ADAL" clId="{53F80C9B-833D-4693-AFD3-13DDAF0ECA52}" dt="2023-11-14T01:34:12.184" v="54" actId="165"/>
          <ac:grpSpMkLst>
            <pc:docMk/>
            <pc:sldMk cId="3740904602" sldId="648"/>
            <ac:grpSpMk id="30" creationId="{7A48A140-67A5-72F3-2452-64F48DA9D9BB}"/>
          </ac:grpSpMkLst>
        </pc:grpChg>
        <pc:grpChg chg="del mod topLvl">
          <ac:chgData name="Miraj Sinya" userId="a6e95797-5893-4261-9f10-8f81f198df75" providerId="ADAL" clId="{53F80C9B-833D-4693-AFD3-13DDAF0ECA52}" dt="2023-11-14T01:34:12.184" v="54" actId="165"/>
          <ac:grpSpMkLst>
            <pc:docMk/>
            <pc:sldMk cId="3740904602" sldId="648"/>
            <ac:grpSpMk id="31" creationId="{1FF68FF1-7E0E-DF75-2A71-8C9FFB06C7A4}"/>
          </ac:grpSpMkLst>
        </pc:grpChg>
        <pc:grpChg chg="del mod topLvl">
          <ac:chgData name="Miraj Sinya" userId="a6e95797-5893-4261-9f10-8f81f198df75" providerId="ADAL" clId="{53F80C9B-833D-4693-AFD3-13DDAF0ECA52}" dt="2023-11-14T01:34:12.369" v="55" actId="165"/>
          <ac:grpSpMkLst>
            <pc:docMk/>
            <pc:sldMk cId="3740904602" sldId="648"/>
            <ac:grpSpMk id="34" creationId="{721B1AF6-E7A5-0511-AF12-6F73D1D5B996}"/>
          </ac:grpSpMkLst>
        </pc:grpChg>
        <pc:grpChg chg="del mod topLvl">
          <ac:chgData name="Miraj Sinya" userId="a6e95797-5893-4261-9f10-8f81f198df75" providerId="ADAL" clId="{53F80C9B-833D-4693-AFD3-13DDAF0ECA52}" dt="2023-11-14T01:34:12.369" v="55" actId="165"/>
          <ac:grpSpMkLst>
            <pc:docMk/>
            <pc:sldMk cId="3740904602" sldId="648"/>
            <ac:grpSpMk id="35" creationId="{895AEBB0-F5E9-89E6-F051-11C4512F0675}"/>
          </ac:grpSpMkLst>
        </pc:grpChg>
        <pc:grpChg chg="del mod topLvl">
          <ac:chgData name="Miraj Sinya" userId="a6e95797-5893-4261-9f10-8f81f198df75" providerId="ADAL" clId="{53F80C9B-833D-4693-AFD3-13DDAF0ECA52}" dt="2023-11-14T01:34:12.369" v="55" actId="165"/>
          <ac:grpSpMkLst>
            <pc:docMk/>
            <pc:sldMk cId="3740904602" sldId="648"/>
            <ac:grpSpMk id="36" creationId="{649A9B5B-BBFF-9E70-B294-2610FA52F83D}"/>
          </ac:grpSpMkLst>
        </pc:grpChg>
        <pc:grpChg chg="del mod topLvl">
          <ac:chgData name="Miraj Sinya" userId="a6e95797-5893-4261-9f10-8f81f198df75" providerId="ADAL" clId="{53F80C9B-833D-4693-AFD3-13DDAF0ECA52}" dt="2023-11-14T01:34:12.369" v="55" actId="165"/>
          <ac:grpSpMkLst>
            <pc:docMk/>
            <pc:sldMk cId="3740904602" sldId="648"/>
            <ac:grpSpMk id="37" creationId="{CC8567A9-7819-8F0B-5AFC-1287CD0E87B6}"/>
          </ac:grpSpMkLst>
        </pc:grpChg>
        <pc:grpChg chg="mod topLvl">
          <ac:chgData name="Miraj Sinya" userId="a6e95797-5893-4261-9f10-8f81f198df75" providerId="ADAL" clId="{53F80C9B-833D-4693-AFD3-13DDAF0ECA52}" dt="2023-11-14T01:34:12.369" v="55" actId="165"/>
          <ac:grpSpMkLst>
            <pc:docMk/>
            <pc:sldMk cId="3740904602" sldId="648"/>
            <ac:grpSpMk id="43" creationId="{FC684A95-22F8-0B6F-E16A-7055503BADEC}"/>
          </ac:grpSpMkLst>
        </pc:grpChg>
        <pc:grpChg chg="mod topLvl">
          <ac:chgData name="Miraj Sinya" userId="a6e95797-5893-4261-9f10-8f81f198df75" providerId="ADAL" clId="{53F80C9B-833D-4693-AFD3-13DDAF0ECA52}" dt="2023-11-14T01:34:12.369" v="55" actId="165"/>
          <ac:grpSpMkLst>
            <pc:docMk/>
            <pc:sldMk cId="3740904602" sldId="648"/>
            <ac:grpSpMk id="48" creationId="{84FA5E68-D408-15EE-2FFD-7B278FF73867}"/>
          </ac:grpSpMkLst>
        </pc:grpChg>
        <pc:grpChg chg="add mod">
          <ac:chgData name="Miraj Sinya" userId="a6e95797-5893-4261-9f10-8f81f198df75" providerId="ADAL" clId="{53F80C9B-833D-4693-AFD3-13DDAF0ECA52}" dt="2023-11-14T01:35:43.463" v="61" actId="164"/>
          <ac:grpSpMkLst>
            <pc:docMk/>
            <pc:sldMk cId="3740904602" sldId="648"/>
            <ac:grpSpMk id="57" creationId="{D6E24627-48F9-4163-DF47-4A545DBFABF0}"/>
          </ac:grpSpMkLst>
        </pc:grpChg>
        <pc:picChg chg="mod topLvl">
          <ac:chgData name="Miraj Sinya" userId="a6e95797-5893-4261-9f10-8f81f198df75" providerId="ADAL" clId="{53F80C9B-833D-4693-AFD3-13DDAF0ECA52}" dt="2023-11-14T01:34:06.002" v="48" actId="165"/>
          <ac:picMkLst>
            <pc:docMk/>
            <pc:sldMk cId="3740904602" sldId="648"/>
            <ac:picMk id="9" creationId="{F46D27C0-ADE8-715D-0856-6025C0163665}"/>
          </ac:picMkLst>
        </pc:picChg>
        <pc:picChg chg="mod topLvl">
          <ac:chgData name="Miraj Sinya" userId="a6e95797-5893-4261-9f10-8f81f198df75" providerId="ADAL" clId="{53F80C9B-833D-4693-AFD3-13DDAF0ECA52}" dt="2023-11-14T01:35:43.463" v="61" actId="164"/>
          <ac:picMkLst>
            <pc:docMk/>
            <pc:sldMk cId="3740904602" sldId="648"/>
            <ac:picMk id="11" creationId="{FC7F542E-03F1-DDA5-8541-5A2A148DF7C0}"/>
          </ac:picMkLst>
        </pc:picChg>
        <pc:picChg chg="mod topLvl">
          <ac:chgData name="Miraj Sinya" userId="a6e95797-5893-4261-9f10-8f81f198df75" providerId="ADAL" clId="{53F80C9B-833D-4693-AFD3-13DDAF0ECA52}" dt="2023-11-14T01:34:11.882" v="53" actId="165"/>
          <ac:picMkLst>
            <pc:docMk/>
            <pc:sldMk cId="3740904602" sldId="648"/>
            <ac:picMk id="32" creationId="{8E72C925-C28F-ACA9-69C2-05AE2573E246}"/>
          </ac:picMkLst>
        </pc:picChg>
        <pc:picChg chg="mod topLvl">
          <ac:chgData name="Miraj Sinya" userId="a6e95797-5893-4261-9f10-8f81f198df75" providerId="ADAL" clId="{53F80C9B-833D-4693-AFD3-13DDAF0ECA52}" dt="2023-11-14T01:34:12.184" v="54" actId="165"/>
          <ac:picMkLst>
            <pc:docMk/>
            <pc:sldMk cId="3740904602" sldId="648"/>
            <ac:picMk id="38" creationId="{FDBBA7D4-3C30-6ECA-BF07-C2556E6E6A0C}"/>
          </ac:picMkLst>
        </pc:picChg>
        <pc:cxnChg chg="mod topLvl">
          <ac:chgData name="Miraj Sinya" userId="a6e95797-5893-4261-9f10-8f81f198df75" providerId="ADAL" clId="{53F80C9B-833D-4693-AFD3-13DDAF0ECA52}" dt="2023-11-14T01:34:06.002" v="48" actId="165"/>
          <ac:cxnSpMkLst>
            <pc:docMk/>
            <pc:sldMk cId="3740904602" sldId="648"/>
            <ac:cxnSpMk id="8" creationId="{B5DBCBDC-FDA5-3E35-8480-56EBDB678CD8}"/>
          </ac:cxnSpMkLst>
        </pc:cxnChg>
        <pc:cxnChg chg="mod topLvl">
          <ac:chgData name="Miraj Sinya" userId="a6e95797-5893-4261-9f10-8f81f198df75" providerId="ADAL" clId="{53F80C9B-833D-4693-AFD3-13DDAF0ECA52}" dt="2023-11-14T01:35:43.463" v="61" actId="164"/>
          <ac:cxnSpMkLst>
            <pc:docMk/>
            <pc:sldMk cId="3740904602" sldId="648"/>
            <ac:cxnSpMk id="14" creationId="{F659BAA1-1E0B-124B-7D61-0757298ECE3E}"/>
          </ac:cxnSpMkLst>
        </pc:cxnChg>
        <pc:cxnChg chg="mod topLvl">
          <ac:chgData name="Miraj Sinya" userId="a6e95797-5893-4261-9f10-8f81f198df75" providerId="ADAL" clId="{53F80C9B-833D-4693-AFD3-13DDAF0ECA52}" dt="2023-11-14T01:35:43.463" v="61" actId="164"/>
          <ac:cxnSpMkLst>
            <pc:docMk/>
            <pc:sldMk cId="3740904602" sldId="648"/>
            <ac:cxnSpMk id="15" creationId="{1F6D0272-E9BF-3590-B171-632B26725418}"/>
          </ac:cxnSpMkLst>
        </pc:cxnChg>
        <pc:cxnChg chg="mod topLvl">
          <ac:chgData name="Miraj Sinya" userId="a6e95797-5893-4261-9f10-8f81f198df75" providerId="ADAL" clId="{53F80C9B-833D-4693-AFD3-13DDAF0ECA52}" dt="2023-11-14T01:34:11.882" v="53" actId="165"/>
          <ac:cxnSpMkLst>
            <pc:docMk/>
            <pc:sldMk cId="3740904602" sldId="648"/>
            <ac:cxnSpMk id="33" creationId="{AFA636DE-C8CC-9CF4-0166-D1DD9BB72F41}"/>
          </ac:cxnSpMkLst>
        </pc:cxnChg>
      </pc:sldChg>
      <pc:sldChg chg="addSp delSp modSp new mod ord">
        <pc:chgData name="Miraj Sinya" userId="a6e95797-5893-4261-9f10-8f81f198df75" providerId="ADAL" clId="{53F80C9B-833D-4693-AFD3-13DDAF0ECA52}" dt="2023-11-15T03:26:28.122" v="9965" actId="1036"/>
        <pc:sldMkLst>
          <pc:docMk/>
          <pc:sldMk cId="3172089129" sldId="649"/>
        </pc:sldMkLst>
        <pc:spChg chg="mod">
          <ac:chgData name="Miraj Sinya" userId="a6e95797-5893-4261-9f10-8f81f198df75" providerId="ADAL" clId="{53F80C9B-833D-4693-AFD3-13DDAF0ECA52}" dt="2023-11-14T22:36:44.698" v="5261" actId="20577"/>
          <ac:spMkLst>
            <pc:docMk/>
            <pc:sldMk cId="3172089129" sldId="649"/>
            <ac:spMk id="2" creationId="{D3F17A13-15DD-FAE6-2CC5-97885DC24AFC}"/>
          </ac:spMkLst>
        </pc:spChg>
        <pc:spChg chg="add mod topLvl">
          <ac:chgData name="Miraj Sinya" userId="a6e95797-5893-4261-9f10-8f81f198df75" providerId="ADAL" clId="{53F80C9B-833D-4693-AFD3-13DDAF0ECA52}" dt="2023-11-15T00:47:05.666" v="6852" actId="1035"/>
          <ac:spMkLst>
            <pc:docMk/>
            <pc:sldMk cId="3172089129" sldId="649"/>
            <ac:spMk id="3" creationId="{79D9E8DC-CF81-A5EF-E313-3D868DA7003D}"/>
          </ac:spMkLst>
        </pc:spChg>
        <pc:spChg chg="add mod topLvl">
          <ac:chgData name="Miraj Sinya" userId="a6e95797-5893-4261-9f10-8f81f198df75" providerId="ADAL" clId="{53F80C9B-833D-4693-AFD3-13DDAF0ECA52}" dt="2023-11-15T00:47:05.666" v="6852" actId="1035"/>
          <ac:spMkLst>
            <pc:docMk/>
            <pc:sldMk cId="3172089129" sldId="649"/>
            <ac:spMk id="4" creationId="{4E81EA7E-0D3B-DA43-96A6-A3D2733F1486}"/>
          </ac:spMkLst>
        </pc:spChg>
        <pc:spChg chg="add mod topLvl">
          <ac:chgData name="Miraj Sinya" userId="a6e95797-5893-4261-9f10-8f81f198df75" providerId="ADAL" clId="{53F80C9B-833D-4693-AFD3-13DDAF0ECA52}" dt="2023-11-15T00:47:05.666" v="6852" actId="1035"/>
          <ac:spMkLst>
            <pc:docMk/>
            <pc:sldMk cId="3172089129" sldId="649"/>
            <ac:spMk id="5" creationId="{48F67AB6-BC7A-7909-6398-5CA565F83E92}"/>
          </ac:spMkLst>
        </pc:spChg>
        <pc:spChg chg="add del mod">
          <ac:chgData name="Miraj Sinya" userId="a6e95797-5893-4261-9f10-8f81f198df75" providerId="ADAL" clId="{53F80C9B-833D-4693-AFD3-13DDAF0ECA52}" dt="2023-11-14T03:21:11.952" v="1494"/>
          <ac:spMkLst>
            <pc:docMk/>
            <pc:sldMk cId="3172089129" sldId="649"/>
            <ac:spMk id="6" creationId="{9CB65847-F495-36AF-8B93-E98128F88C98}"/>
          </ac:spMkLst>
        </pc:spChg>
        <pc:spChg chg="add mod">
          <ac:chgData name="Miraj Sinya" userId="a6e95797-5893-4261-9f10-8f81f198df75" providerId="ADAL" clId="{53F80C9B-833D-4693-AFD3-13DDAF0ECA52}" dt="2023-11-15T00:47:05.666" v="6852" actId="1035"/>
          <ac:spMkLst>
            <pc:docMk/>
            <pc:sldMk cId="3172089129" sldId="649"/>
            <ac:spMk id="6" creationId="{C191783B-3F4E-CCA2-BE70-B8D5E95129CE}"/>
          </ac:spMkLst>
        </pc:spChg>
        <pc:spChg chg="add mod topLvl">
          <ac:chgData name="Miraj Sinya" userId="a6e95797-5893-4261-9f10-8f81f198df75" providerId="ADAL" clId="{53F80C9B-833D-4693-AFD3-13DDAF0ECA52}" dt="2023-11-15T00:47:30.055" v="6854" actId="14100"/>
          <ac:spMkLst>
            <pc:docMk/>
            <pc:sldMk cId="3172089129" sldId="649"/>
            <ac:spMk id="7" creationId="{89C6BB75-B469-C49C-215F-5956850980A4}"/>
          </ac:spMkLst>
        </pc:spChg>
        <pc:spChg chg="add mod">
          <ac:chgData name="Miraj Sinya" userId="a6e95797-5893-4261-9f10-8f81f198df75" providerId="ADAL" clId="{53F80C9B-833D-4693-AFD3-13DDAF0ECA52}" dt="2023-11-15T00:47:05.666" v="6852" actId="1035"/>
          <ac:spMkLst>
            <pc:docMk/>
            <pc:sldMk cId="3172089129" sldId="649"/>
            <ac:spMk id="8" creationId="{75E6F3C1-326E-C517-8509-DEE367ABC07E}"/>
          </ac:spMkLst>
        </pc:spChg>
        <pc:spChg chg="add del mod topLvl">
          <ac:chgData name="Miraj Sinya" userId="a6e95797-5893-4261-9f10-8f81f198df75" providerId="ADAL" clId="{53F80C9B-833D-4693-AFD3-13DDAF0ECA52}" dt="2023-11-15T00:23:17.849" v="6255" actId="478"/>
          <ac:spMkLst>
            <pc:docMk/>
            <pc:sldMk cId="3172089129" sldId="649"/>
            <ac:spMk id="10" creationId="{1B0B2C79-4566-8912-41B2-CA61BC2CE245}"/>
          </ac:spMkLst>
        </pc:spChg>
        <pc:spChg chg="add mod">
          <ac:chgData name="Miraj Sinya" userId="a6e95797-5893-4261-9f10-8f81f198df75" providerId="ADAL" clId="{53F80C9B-833D-4693-AFD3-13DDAF0ECA52}" dt="2023-11-15T00:47:05.666" v="6852" actId="1035"/>
          <ac:spMkLst>
            <pc:docMk/>
            <pc:sldMk cId="3172089129" sldId="649"/>
            <ac:spMk id="11" creationId="{6A793A5A-F86F-D598-89FE-6EDA04C09B24}"/>
          </ac:spMkLst>
        </pc:spChg>
        <pc:spChg chg="add mod">
          <ac:chgData name="Miraj Sinya" userId="a6e95797-5893-4261-9f10-8f81f198df75" providerId="ADAL" clId="{53F80C9B-833D-4693-AFD3-13DDAF0ECA52}" dt="2023-11-15T00:47:05.666" v="6852" actId="1035"/>
          <ac:spMkLst>
            <pc:docMk/>
            <pc:sldMk cId="3172089129" sldId="649"/>
            <ac:spMk id="13" creationId="{D60CD30C-0AFC-AA6B-6580-071DB238E72E}"/>
          </ac:spMkLst>
        </pc:spChg>
        <pc:spChg chg="add mod">
          <ac:chgData name="Miraj Sinya" userId="a6e95797-5893-4261-9f10-8f81f198df75" providerId="ADAL" clId="{53F80C9B-833D-4693-AFD3-13DDAF0ECA52}" dt="2023-11-15T00:47:05.666" v="6852" actId="1035"/>
          <ac:spMkLst>
            <pc:docMk/>
            <pc:sldMk cId="3172089129" sldId="649"/>
            <ac:spMk id="14" creationId="{AD9F55AA-EEAA-1F03-F814-97CD137D98C1}"/>
          </ac:spMkLst>
        </pc:spChg>
        <pc:spChg chg="add mod">
          <ac:chgData name="Miraj Sinya" userId="a6e95797-5893-4261-9f10-8f81f198df75" providerId="ADAL" clId="{53F80C9B-833D-4693-AFD3-13DDAF0ECA52}" dt="2023-11-15T00:47:05.666" v="6852" actId="1035"/>
          <ac:spMkLst>
            <pc:docMk/>
            <pc:sldMk cId="3172089129" sldId="649"/>
            <ac:spMk id="15" creationId="{216D134F-92BB-5FF0-F3D2-204245969AA9}"/>
          </ac:spMkLst>
        </pc:spChg>
        <pc:spChg chg="add mod">
          <ac:chgData name="Miraj Sinya" userId="a6e95797-5893-4261-9f10-8f81f198df75" providerId="ADAL" clId="{53F80C9B-833D-4693-AFD3-13DDAF0ECA52}" dt="2023-11-15T00:47:05.666" v="6852" actId="1035"/>
          <ac:spMkLst>
            <pc:docMk/>
            <pc:sldMk cId="3172089129" sldId="649"/>
            <ac:spMk id="16" creationId="{62DAA095-2CDE-C97C-97CD-43A9F88B00C5}"/>
          </ac:spMkLst>
        </pc:spChg>
        <pc:spChg chg="add del mod">
          <ac:chgData name="Miraj Sinya" userId="a6e95797-5893-4261-9f10-8f81f198df75" providerId="ADAL" clId="{53F80C9B-833D-4693-AFD3-13DDAF0ECA52}" dt="2023-11-15T00:10:13.222" v="6061" actId="478"/>
          <ac:spMkLst>
            <pc:docMk/>
            <pc:sldMk cId="3172089129" sldId="649"/>
            <ac:spMk id="18" creationId="{F670EED7-228D-9758-7E97-5B9663AB2BDA}"/>
          </ac:spMkLst>
        </pc:spChg>
        <pc:spChg chg="add del mod">
          <ac:chgData name="Miraj Sinya" userId="a6e95797-5893-4261-9f10-8f81f198df75" providerId="ADAL" clId="{53F80C9B-833D-4693-AFD3-13DDAF0ECA52}" dt="2023-11-15T00:10:13.222" v="6061" actId="478"/>
          <ac:spMkLst>
            <pc:docMk/>
            <pc:sldMk cId="3172089129" sldId="649"/>
            <ac:spMk id="19" creationId="{6BA87F8D-C006-DD02-FEEF-183C0997097E}"/>
          </ac:spMkLst>
        </pc:spChg>
        <pc:spChg chg="add del mod">
          <ac:chgData name="Miraj Sinya" userId="a6e95797-5893-4261-9f10-8f81f198df75" providerId="ADAL" clId="{53F80C9B-833D-4693-AFD3-13DDAF0ECA52}" dt="2023-11-15T00:10:13.222" v="6061" actId="478"/>
          <ac:spMkLst>
            <pc:docMk/>
            <pc:sldMk cId="3172089129" sldId="649"/>
            <ac:spMk id="20" creationId="{173F5E13-D000-A003-C6EC-79FA496602EB}"/>
          </ac:spMkLst>
        </pc:spChg>
        <pc:spChg chg="add mod">
          <ac:chgData name="Miraj Sinya" userId="a6e95797-5893-4261-9f10-8f81f198df75" providerId="ADAL" clId="{53F80C9B-833D-4693-AFD3-13DDAF0ECA52}" dt="2023-11-15T00:50:46.699" v="6945" actId="1076"/>
          <ac:spMkLst>
            <pc:docMk/>
            <pc:sldMk cId="3172089129" sldId="649"/>
            <ac:spMk id="21" creationId="{A2802279-FEA1-A9E5-8C3D-B87D7F5B9C51}"/>
          </ac:spMkLst>
        </pc:spChg>
        <pc:spChg chg="add del mod">
          <ac:chgData name="Miraj Sinya" userId="a6e95797-5893-4261-9f10-8f81f198df75" providerId="ADAL" clId="{53F80C9B-833D-4693-AFD3-13DDAF0ECA52}" dt="2023-11-14T04:30:49.858" v="1979" actId="478"/>
          <ac:spMkLst>
            <pc:docMk/>
            <pc:sldMk cId="3172089129" sldId="649"/>
            <ac:spMk id="21" creationId="{C161FF62-B66F-F056-2C04-CAF26DDA714D}"/>
          </ac:spMkLst>
        </pc:spChg>
        <pc:spChg chg="add del mod">
          <ac:chgData name="Miraj Sinya" userId="a6e95797-5893-4261-9f10-8f81f198df75" providerId="ADAL" clId="{53F80C9B-833D-4693-AFD3-13DDAF0ECA52}" dt="2023-11-14T04:31:47.934" v="1995" actId="478"/>
          <ac:spMkLst>
            <pc:docMk/>
            <pc:sldMk cId="3172089129" sldId="649"/>
            <ac:spMk id="22" creationId="{3D906D8A-BA41-2C84-1D5E-5DA08C678CCC}"/>
          </ac:spMkLst>
        </pc:spChg>
        <pc:spChg chg="add mod">
          <ac:chgData name="Miraj Sinya" userId="a6e95797-5893-4261-9f10-8f81f198df75" providerId="ADAL" clId="{53F80C9B-833D-4693-AFD3-13DDAF0ECA52}" dt="2023-11-15T00:50:56.899" v="6947" actId="1076"/>
          <ac:spMkLst>
            <pc:docMk/>
            <pc:sldMk cId="3172089129" sldId="649"/>
            <ac:spMk id="22" creationId="{C274FCFF-97CF-2751-3CC9-0311B91DDE3A}"/>
          </ac:spMkLst>
        </pc:spChg>
        <pc:spChg chg="add mod">
          <ac:chgData name="Miraj Sinya" userId="a6e95797-5893-4261-9f10-8f81f198df75" providerId="ADAL" clId="{53F80C9B-833D-4693-AFD3-13DDAF0ECA52}" dt="2023-11-15T00:47:05.666" v="6852" actId="1035"/>
          <ac:spMkLst>
            <pc:docMk/>
            <pc:sldMk cId="3172089129" sldId="649"/>
            <ac:spMk id="23" creationId="{6D9EE408-2576-465B-CB91-3FEC7198A9C9}"/>
          </ac:spMkLst>
        </pc:spChg>
        <pc:spChg chg="mod">
          <ac:chgData name="Miraj Sinya" userId="a6e95797-5893-4261-9f10-8f81f198df75" providerId="ADAL" clId="{53F80C9B-833D-4693-AFD3-13DDAF0ECA52}" dt="2023-11-14T04:53:24.038" v="2535"/>
          <ac:spMkLst>
            <pc:docMk/>
            <pc:sldMk cId="3172089129" sldId="649"/>
            <ac:spMk id="24" creationId="{712CE631-078C-8386-E3FA-BE4FFA695514}"/>
          </ac:spMkLst>
        </pc:spChg>
        <pc:spChg chg="mod topLvl">
          <ac:chgData name="Miraj Sinya" userId="a6e95797-5893-4261-9f10-8f81f198df75" providerId="ADAL" clId="{53F80C9B-833D-4693-AFD3-13DDAF0ECA52}" dt="2023-11-15T00:47:05.666" v="6852" actId="1035"/>
          <ac:spMkLst>
            <pc:docMk/>
            <pc:sldMk cId="3172089129" sldId="649"/>
            <ac:spMk id="25" creationId="{42848E1A-4228-B5E1-9626-762BE96E8054}"/>
          </ac:spMkLst>
        </pc:spChg>
        <pc:spChg chg="del mod topLvl">
          <ac:chgData name="Miraj Sinya" userId="a6e95797-5893-4261-9f10-8f81f198df75" providerId="ADAL" clId="{53F80C9B-833D-4693-AFD3-13DDAF0ECA52}" dt="2023-11-15T00:33:59.191" v="6544" actId="478"/>
          <ac:spMkLst>
            <pc:docMk/>
            <pc:sldMk cId="3172089129" sldId="649"/>
            <ac:spMk id="26" creationId="{2CD5F638-C34B-0F1D-9826-D90A914E85D6}"/>
          </ac:spMkLst>
        </pc:spChg>
        <pc:spChg chg="add mod">
          <ac:chgData name="Miraj Sinya" userId="a6e95797-5893-4261-9f10-8f81f198df75" providerId="ADAL" clId="{53F80C9B-833D-4693-AFD3-13DDAF0ECA52}" dt="2023-11-15T00:47:40.389" v="6856" actId="14100"/>
          <ac:spMkLst>
            <pc:docMk/>
            <pc:sldMk cId="3172089129" sldId="649"/>
            <ac:spMk id="27" creationId="{E2452E23-7ADA-F7E7-4CE8-DCC029E24FE0}"/>
          </ac:spMkLst>
        </pc:spChg>
        <pc:spChg chg="add mod">
          <ac:chgData name="Miraj Sinya" userId="a6e95797-5893-4261-9f10-8f81f198df75" providerId="ADAL" clId="{53F80C9B-833D-4693-AFD3-13DDAF0ECA52}" dt="2023-11-15T00:47:05.666" v="6852" actId="1035"/>
          <ac:spMkLst>
            <pc:docMk/>
            <pc:sldMk cId="3172089129" sldId="649"/>
            <ac:spMk id="28" creationId="{77786628-F335-5B08-0DAC-1C0440A858AA}"/>
          </ac:spMkLst>
        </pc:spChg>
        <pc:spChg chg="add mod topLvl">
          <ac:chgData name="Miraj Sinya" userId="a6e95797-5893-4261-9f10-8f81f198df75" providerId="ADAL" clId="{53F80C9B-833D-4693-AFD3-13DDAF0ECA52}" dt="2023-11-15T03:26:22.082" v="9962" actId="1076"/>
          <ac:spMkLst>
            <pc:docMk/>
            <pc:sldMk cId="3172089129" sldId="649"/>
            <ac:spMk id="29" creationId="{9BEA2BE4-39A1-DC74-78A8-6512FC64D50E}"/>
          </ac:spMkLst>
        </pc:spChg>
        <pc:spChg chg="add del mod">
          <ac:chgData name="Miraj Sinya" userId="a6e95797-5893-4261-9f10-8f81f198df75" providerId="ADAL" clId="{53F80C9B-833D-4693-AFD3-13DDAF0ECA52}" dt="2023-11-15T00:22:22.045" v="6247" actId="478"/>
          <ac:spMkLst>
            <pc:docMk/>
            <pc:sldMk cId="3172089129" sldId="649"/>
            <ac:spMk id="30" creationId="{5F1B4A8F-198D-9A9F-4CA3-AF7903F00410}"/>
          </ac:spMkLst>
        </pc:spChg>
        <pc:spChg chg="add mod">
          <ac:chgData name="Miraj Sinya" userId="a6e95797-5893-4261-9f10-8f81f198df75" providerId="ADAL" clId="{53F80C9B-833D-4693-AFD3-13DDAF0ECA52}" dt="2023-11-15T00:51:10.613" v="6956" actId="20577"/>
          <ac:spMkLst>
            <pc:docMk/>
            <pc:sldMk cId="3172089129" sldId="649"/>
            <ac:spMk id="31" creationId="{EFAF42D9-9F83-7207-54B8-D0F7A91FC3B4}"/>
          </ac:spMkLst>
        </pc:spChg>
        <pc:spChg chg="add del mod topLvl">
          <ac:chgData name="Miraj Sinya" userId="a6e95797-5893-4261-9f10-8f81f198df75" providerId="ADAL" clId="{53F80C9B-833D-4693-AFD3-13DDAF0ECA52}" dt="2023-11-15T00:33:48.701" v="6542" actId="478"/>
          <ac:spMkLst>
            <pc:docMk/>
            <pc:sldMk cId="3172089129" sldId="649"/>
            <ac:spMk id="33" creationId="{AA9BC9A8-CF7E-DB3A-02FE-A5B2C948143B}"/>
          </ac:spMkLst>
        </pc:spChg>
        <pc:spChg chg="add mod">
          <ac:chgData name="Miraj Sinya" userId="a6e95797-5893-4261-9f10-8f81f198df75" providerId="ADAL" clId="{53F80C9B-833D-4693-AFD3-13DDAF0ECA52}" dt="2023-11-15T03:26:11.311" v="9960" actId="1076"/>
          <ac:spMkLst>
            <pc:docMk/>
            <pc:sldMk cId="3172089129" sldId="649"/>
            <ac:spMk id="34" creationId="{CB905791-57AF-BD83-2660-748CE5D94A84}"/>
          </ac:spMkLst>
        </pc:spChg>
        <pc:spChg chg="add del mod">
          <ac:chgData name="Miraj Sinya" userId="a6e95797-5893-4261-9f10-8f81f198df75" providerId="ADAL" clId="{53F80C9B-833D-4693-AFD3-13DDAF0ECA52}" dt="2023-11-15T00:22:15.142" v="6245" actId="478"/>
          <ac:spMkLst>
            <pc:docMk/>
            <pc:sldMk cId="3172089129" sldId="649"/>
            <ac:spMk id="35" creationId="{5880BBAF-2A07-4A13-3A56-CF40234C192D}"/>
          </ac:spMkLst>
        </pc:spChg>
        <pc:spChg chg="add mod">
          <ac:chgData name="Miraj Sinya" userId="a6e95797-5893-4261-9f10-8f81f198df75" providerId="ADAL" clId="{53F80C9B-833D-4693-AFD3-13DDAF0ECA52}" dt="2023-11-15T03:26:17.919" v="9961" actId="1076"/>
          <ac:spMkLst>
            <pc:docMk/>
            <pc:sldMk cId="3172089129" sldId="649"/>
            <ac:spMk id="36" creationId="{AA77C912-8001-410F-E6E4-41BE2353FF88}"/>
          </ac:spMkLst>
        </pc:spChg>
        <pc:spChg chg="add mod">
          <ac:chgData name="Miraj Sinya" userId="a6e95797-5893-4261-9f10-8f81f198df75" providerId="ADAL" clId="{53F80C9B-833D-4693-AFD3-13DDAF0ECA52}" dt="2023-11-15T03:26:28.122" v="9965" actId="1036"/>
          <ac:spMkLst>
            <pc:docMk/>
            <pc:sldMk cId="3172089129" sldId="649"/>
            <ac:spMk id="37" creationId="{1A3778D9-7A34-DBDC-C5DF-25AD245E91F6}"/>
          </ac:spMkLst>
        </pc:spChg>
        <pc:spChg chg="add mod">
          <ac:chgData name="Miraj Sinya" userId="a6e95797-5893-4261-9f10-8f81f198df75" providerId="ADAL" clId="{53F80C9B-833D-4693-AFD3-13DDAF0ECA52}" dt="2023-11-15T01:30:24.121" v="7370" actId="207"/>
          <ac:spMkLst>
            <pc:docMk/>
            <pc:sldMk cId="3172089129" sldId="649"/>
            <ac:spMk id="39" creationId="{BAB1BD14-AB79-5015-F506-530AB761A6B4}"/>
          </ac:spMkLst>
        </pc:spChg>
        <pc:spChg chg="add del mod">
          <ac:chgData name="Miraj Sinya" userId="a6e95797-5893-4261-9f10-8f81f198df75" providerId="ADAL" clId="{53F80C9B-833D-4693-AFD3-13DDAF0ECA52}" dt="2023-11-15T00:48:33.771" v="6867" actId="478"/>
          <ac:spMkLst>
            <pc:docMk/>
            <pc:sldMk cId="3172089129" sldId="649"/>
            <ac:spMk id="40" creationId="{B9C1907D-7D68-BF82-4521-D520DCA958C2}"/>
          </ac:spMkLst>
        </pc:spChg>
        <pc:spChg chg="add del mod">
          <ac:chgData name="Miraj Sinya" userId="a6e95797-5893-4261-9f10-8f81f198df75" providerId="ADAL" clId="{53F80C9B-833D-4693-AFD3-13DDAF0ECA52}" dt="2023-11-15T01:03:06.799" v="7032" actId="478"/>
          <ac:spMkLst>
            <pc:docMk/>
            <pc:sldMk cId="3172089129" sldId="649"/>
            <ac:spMk id="41" creationId="{D0849129-72A2-F0BB-CA7B-6F548780BAD9}"/>
          </ac:spMkLst>
        </pc:spChg>
        <pc:spChg chg="add mod">
          <ac:chgData name="Miraj Sinya" userId="a6e95797-5893-4261-9f10-8f81f198df75" providerId="ADAL" clId="{53F80C9B-833D-4693-AFD3-13DDAF0ECA52}" dt="2023-11-15T01:34:32.344" v="7371" actId="20577"/>
          <ac:spMkLst>
            <pc:docMk/>
            <pc:sldMk cId="3172089129" sldId="649"/>
            <ac:spMk id="43" creationId="{BD250FF7-556F-B381-9823-ABC79A0CF2D3}"/>
          </ac:spMkLst>
        </pc:spChg>
        <pc:spChg chg="add mod">
          <ac:chgData name="Miraj Sinya" userId="a6e95797-5893-4261-9f10-8f81f198df75" providerId="ADAL" clId="{53F80C9B-833D-4693-AFD3-13DDAF0ECA52}" dt="2023-11-15T00:47:05.666" v="6852" actId="1035"/>
          <ac:spMkLst>
            <pc:docMk/>
            <pc:sldMk cId="3172089129" sldId="649"/>
            <ac:spMk id="44" creationId="{F8B2A567-9743-54C0-5A0B-1806BD569EC7}"/>
          </ac:spMkLst>
        </pc:spChg>
        <pc:spChg chg="add mod">
          <ac:chgData name="Miraj Sinya" userId="a6e95797-5893-4261-9f10-8f81f198df75" providerId="ADAL" clId="{53F80C9B-833D-4693-AFD3-13DDAF0ECA52}" dt="2023-11-15T00:51:34.833" v="6979" actId="1036"/>
          <ac:spMkLst>
            <pc:docMk/>
            <pc:sldMk cId="3172089129" sldId="649"/>
            <ac:spMk id="45" creationId="{043B8154-516C-6F9D-A501-F0D8AE5C3450}"/>
          </ac:spMkLst>
        </pc:spChg>
        <pc:spChg chg="add mod">
          <ac:chgData name="Miraj Sinya" userId="a6e95797-5893-4261-9f10-8f81f198df75" providerId="ADAL" clId="{53F80C9B-833D-4693-AFD3-13DDAF0ECA52}" dt="2023-11-15T00:47:05.666" v="6852" actId="1035"/>
          <ac:spMkLst>
            <pc:docMk/>
            <pc:sldMk cId="3172089129" sldId="649"/>
            <ac:spMk id="46" creationId="{24B46839-57EB-23B9-0F9C-9AB343FF0CA9}"/>
          </ac:spMkLst>
        </pc:spChg>
        <pc:spChg chg="add mod">
          <ac:chgData name="Miraj Sinya" userId="a6e95797-5893-4261-9f10-8f81f198df75" providerId="ADAL" clId="{53F80C9B-833D-4693-AFD3-13DDAF0ECA52}" dt="2023-11-15T00:47:05.666" v="6852" actId="1035"/>
          <ac:spMkLst>
            <pc:docMk/>
            <pc:sldMk cId="3172089129" sldId="649"/>
            <ac:spMk id="47" creationId="{E7CEC116-892C-F35D-57C7-8180A6BDEE6A}"/>
          </ac:spMkLst>
        </pc:spChg>
        <pc:spChg chg="add mod">
          <ac:chgData name="Miraj Sinya" userId="a6e95797-5893-4261-9f10-8f81f198df75" providerId="ADAL" clId="{53F80C9B-833D-4693-AFD3-13DDAF0ECA52}" dt="2023-11-15T00:50:46.699" v="6945" actId="1076"/>
          <ac:spMkLst>
            <pc:docMk/>
            <pc:sldMk cId="3172089129" sldId="649"/>
            <ac:spMk id="48" creationId="{C0A57E80-17C1-7B16-C384-BD8C055D18A5}"/>
          </ac:spMkLst>
        </pc:spChg>
        <pc:spChg chg="add mod">
          <ac:chgData name="Miraj Sinya" userId="a6e95797-5893-4261-9f10-8f81f198df75" providerId="ADAL" clId="{53F80C9B-833D-4693-AFD3-13DDAF0ECA52}" dt="2023-11-15T00:47:05.666" v="6852" actId="1035"/>
          <ac:spMkLst>
            <pc:docMk/>
            <pc:sldMk cId="3172089129" sldId="649"/>
            <ac:spMk id="49" creationId="{004F91C2-8977-A39F-6722-121FA382D377}"/>
          </ac:spMkLst>
        </pc:spChg>
        <pc:spChg chg="add mod">
          <ac:chgData name="Miraj Sinya" userId="a6e95797-5893-4261-9f10-8f81f198df75" providerId="ADAL" clId="{53F80C9B-833D-4693-AFD3-13DDAF0ECA52}" dt="2023-11-15T00:51:07.584" v="6949" actId="1076"/>
          <ac:spMkLst>
            <pc:docMk/>
            <pc:sldMk cId="3172089129" sldId="649"/>
            <ac:spMk id="50" creationId="{E3750A13-DBD2-6D0F-741E-53C8E455A1BF}"/>
          </ac:spMkLst>
        </pc:spChg>
        <pc:spChg chg="add mod">
          <ac:chgData name="Miraj Sinya" userId="a6e95797-5893-4261-9f10-8f81f198df75" providerId="ADAL" clId="{53F80C9B-833D-4693-AFD3-13DDAF0ECA52}" dt="2023-11-15T00:47:05.666" v="6852" actId="1035"/>
          <ac:spMkLst>
            <pc:docMk/>
            <pc:sldMk cId="3172089129" sldId="649"/>
            <ac:spMk id="51" creationId="{22919DDC-98F7-68DD-A78A-40E35077B66A}"/>
          </ac:spMkLst>
        </pc:spChg>
        <pc:spChg chg="add mod">
          <ac:chgData name="Miraj Sinya" userId="a6e95797-5893-4261-9f10-8f81f198df75" providerId="ADAL" clId="{53F80C9B-833D-4693-AFD3-13DDAF0ECA52}" dt="2023-11-15T00:48:38.668" v="6869" actId="1035"/>
          <ac:spMkLst>
            <pc:docMk/>
            <pc:sldMk cId="3172089129" sldId="649"/>
            <ac:spMk id="52" creationId="{833FB0CD-62AE-09AA-418F-E10C2CBEA79C}"/>
          </ac:spMkLst>
        </pc:spChg>
        <pc:grpChg chg="add mod topLvl">
          <ac:chgData name="Miraj Sinya" userId="a6e95797-5893-4261-9f10-8f81f198df75" providerId="ADAL" clId="{53F80C9B-833D-4693-AFD3-13DDAF0ECA52}" dt="2023-11-15T00:47:05.666" v="6852" actId="1035"/>
          <ac:grpSpMkLst>
            <pc:docMk/>
            <pc:sldMk cId="3172089129" sldId="649"/>
            <ac:grpSpMk id="12" creationId="{7BD8960C-3D22-1F9D-25C0-24602BDA6B70}"/>
          </ac:grpSpMkLst>
        </pc:grpChg>
        <pc:grpChg chg="add del mod">
          <ac:chgData name="Miraj Sinya" userId="a6e95797-5893-4261-9f10-8f81f198df75" providerId="ADAL" clId="{53F80C9B-833D-4693-AFD3-13DDAF0ECA52}" dt="2023-11-14T03:32:58.459" v="1742" actId="165"/>
          <ac:grpSpMkLst>
            <pc:docMk/>
            <pc:sldMk cId="3172089129" sldId="649"/>
            <ac:grpSpMk id="13" creationId="{F6DB135D-0BEE-AE9B-0285-AD496520106C}"/>
          </ac:grpSpMkLst>
        </pc:grpChg>
        <pc:grpChg chg="add mod">
          <ac:chgData name="Miraj Sinya" userId="a6e95797-5893-4261-9f10-8f81f198df75" providerId="ADAL" clId="{53F80C9B-833D-4693-AFD3-13DDAF0ECA52}" dt="2023-11-15T00:47:05.666" v="6852" actId="1035"/>
          <ac:grpSpMkLst>
            <pc:docMk/>
            <pc:sldMk cId="3172089129" sldId="649"/>
            <ac:grpSpMk id="17" creationId="{0FC28117-8D13-0331-38A2-0ADC08546ACA}"/>
          </ac:grpSpMkLst>
        </pc:grpChg>
        <pc:grpChg chg="add del mod">
          <ac:chgData name="Miraj Sinya" userId="a6e95797-5893-4261-9f10-8f81f198df75" providerId="ADAL" clId="{53F80C9B-833D-4693-AFD3-13DDAF0ECA52}" dt="2023-11-14T04:53:26.052" v="2536"/>
          <ac:grpSpMkLst>
            <pc:docMk/>
            <pc:sldMk cId="3172089129" sldId="649"/>
            <ac:grpSpMk id="23" creationId="{E3F7DB4C-E9F6-C13D-1521-1DFBEA3B76C5}"/>
          </ac:grpSpMkLst>
        </pc:grpChg>
        <pc:grpChg chg="add del mod">
          <ac:chgData name="Miraj Sinya" userId="a6e95797-5893-4261-9f10-8f81f198df75" providerId="ADAL" clId="{53F80C9B-833D-4693-AFD3-13DDAF0ECA52}" dt="2023-11-15T00:33:55.972" v="6543" actId="165"/>
          <ac:grpSpMkLst>
            <pc:docMk/>
            <pc:sldMk cId="3172089129" sldId="649"/>
            <ac:grpSpMk id="24" creationId="{49A826A3-4ECD-EBFB-8C54-FB9DBBD68767}"/>
          </ac:grpSpMkLst>
        </pc:grpChg>
        <pc:grpChg chg="add del mod">
          <ac:chgData name="Miraj Sinya" userId="a6e95797-5893-4261-9f10-8f81f198df75" providerId="ADAL" clId="{53F80C9B-833D-4693-AFD3-13DDAF0ECA52}" dt="2023-11-15T00:33:43.622" v="6541" actId="165"/>
          <ac:grpSpMkLst>
            <pc:docMk/>
            <pc:sldMk cId="3172089129" sldId="649"/>
            <ac:grpSpMk id="42" creationId="{40D21002-C158-F775-BB2A-0BB5BA8C77D0}"/>
          </ac:grpSpMkLst>
        </pc:grpChg>
        <pc:grpChg chg="add mod">
          <ac:chgData name="Miraj Sinya" userId="a6e95797-5893-4261-9f10-8f81f198df75" providerId="ADAL" clId="{53F80C9B-833D-4693-AFD3-13DDAF0ECA52}" dt="2023-11-15T00:47:05.666" v="6852" actId="1035"/>
          <ac:grpSpMkLst>
            <pc:docMk/>
            <pc:sldMk cId="3172089129" sldId="649"/>
            <ac:grpSpMk id="53" creationId="{176D0498-0777-C542-7878-1B3F3340BECE}"/>
          </ac:grpSpMkLst>
        </pc:grpChg>
        <pc:grpChg chg="add mod">
          <ac:chgData name="Miraj Sinya" userId="a6e95797-5893-4261-9f10-8f81f198df75" providerId="ADAL" clId="{53F80C9B-833D-4693-AFD3-13DDAF0ECA52}" dt="2023-11-15T00:47:05.666" v="6852" actId="1035"/>
          <ac:grpSpMkLst>
            <pc:docMk/>
            <pc:sldMk cId="3172089129" sldId="649"/>
            <ac:grpSpMk id="54" creationId="{1A760222-EF6B-5193-D2FB-E8D1ED9D4CAD}"/>
          </ac:grpSpMkLst>
        </pc:grpChg>
        <pc:picChg chg="add mod">
          <ac:chgData name="Miraj Sinya" userId="a6e95797-5893-4261-9f10-8f81f198df75" providerId="ADAL" clId="{53F80C9B-833D-4693-AFD3-13DDAF0ECA52}" dt="2023-11-15T00:47:05.666" v="6852" actId="1035"/>
          <ac:picMkLst>
            <pc:docMk/>
            <pc:sldMk cId="3172089129" sldId="649"/>
            <ac:picMk id="9" creationId="{64316385-4C0E-3B8C-62C8-8ED8E187D0A4}"/>
          </ac:picMkLst>
        </pc:picChg>
        <pc:picChg chg="add del mod">
          <ac:chgData name="Miraj Sinya" userId="a6e95797-5893-4261-9f10-8f81f198df75" providerId="ADAL" clId="{53F80C9B-833D-4693-AFD3-13DDAF0ECA52}" dt="2023-11-14T03:27:52.841" v="1582" actId="478"/>
          <ac:picMkLst>
            <pc:docMk/>
            <pc:sldMk cId="3172089129" sldId="649"/>
            <ac:picMk id="11" creationId="{B56BD54B-CF43-4572-529E-D9354235DD36}"/>
          </ac:picMkLst>
        </pc:picChg>
        <pc:picChg chg="add mod">
          <ac:chgData name="Miraj Sinya" userId="a6e95797-5893-4261-9f10-8f81f198df75" providerId="ADAL" clId="{53F80C9B-833D-4693-AFD3-13DDAF0ECA52}" dt="2023-11-15T00:47:05.666" v="6852" actId="1035"/>
          <ac:picMkLst>
            <pc:docMk/>
            <pc:sldMk cId="3172089129" sldId="649"/>
            <ac:picMk id="1026" creationId="{D9407316-218E-17AC-6BCA-7A510A263D0E}"/>
          </ac:picMkLst>
        </pc:picChg>
        <pc:cxnChg chg="mod">
          <ac:chgData name="Miraj Sinya" userId="a6e95797-5893-4261-9f10-8f81f198df75" providerId="ADAL" clId="{53F80C9B-833D-4693-AFD3-13DDAF0ECA52}" dt="2023-11-14T04:53:24.038" v="2535"/>
          <ac:cxnSpMkLst>
            <pc:docMk/>
            <pc:sldMk cId="3172089129" sldId="649"/>
            <ac:cxnSpMk id="25" creationId="{71D339A7-7378-EC64-08BE-E357A045FD7E}"/>
          </ac:cxnSpMkLst>
        </pc:cxnChg>
        <pc:cxnChg chg="add del mod">
          <ac:chgData name="Miraj Sinya" userId="a6e95797-5893-4261-9f10-8f81f198df75" providerId="ADAL" clId="{53F80C9B-833D-4693-AFD3-13DDAF0ECA52}" dt="2023-11-15T00:25:39.279" v="6265" actId="478"/>
          <ac:cxnSpMkLst>
            <pc:docMk/>
            <pc:sldMk cId="3172089129" sldId="649"/>
            <ac:cxnSpMk id="32" creationId="{4C28BD43-8AE9-D31D-4746-0F4E48ABB94F}"/>
          </ac:cxnSpMkLst>
        </pc:cxnChg>
      </pc:sldChg>
      <pc:sldChg chg="addSp delSp modSp new mod">
        <pc:chgData name="Miraj Sinya" userId="a6e95797-5893-4261-9f10-8f81f198df75" providerId="ADAL" clId="{53F80C9B-833D-4693-AFD3-13DDAF0ECA52}" dt="2023-11-15T01:02:32.672" v="7031" actId="478"/>
        <pc:sldMkLst>
          <pc:docMk/>
          <pc:sldMk cId="2831065698" sldId="650"/>
        </pc:sldMkLst>
        <pc:spChg chg="mod">
          <ac:chgData name="Miraj Sinya" userId="a6e95797-5893-4261-9f10-8f81f198df75" providerId="ADAL" clId="{53F80C9B-833D-4693-AFD3-13DDAF0ECA52}" dt="2023-11-14T22:36:36.825" v="5255" actId="20577"/>
          <ac:spMkLst>
            <pc:docMk/>
            <pc:sldMk cId="2831065698" sldId="650"/>
            <ac:spMk id="2" creationId="{B5083659-DB42-72B6-6546-23D886B5F561}"/>
          </ac:spMkLst>
        </pc:spChg>
        <pc:spChg chg="add mod">
          <ac:chgData name="Miraj Sinya" userId="a6e95797-5893-4261-9f10-8f81f198df75" providerId="ADAL" clId="{53F80C9B-833D-4693-AFD3-13DDAF0ECA52}" dt="2023-11-15T01:01:29.696" v="7022" actId="465"/>
          <ac:spMkLst>
            <pc:docMk/>
            <pc:sldMk cId="2831065698" sldId="650"/>
            <ac:spMk id="3" creationId="{9A4C5EF5-458C-B659-7D91-A24E807B2C57}"/>
          </ac:spMkLst>
        </pc:spChg>
        <pc:spChg chg="add del mod">
          <ac:chgData name="Miraj Sinya" userId="a6e95797-5893-4261-9f10-8f81f198df75" providerId="ADAL" clId="{53F80C9B-833D-4693-AFD3-13DDAF0ECA52}" dt="2023-11-15T01:02:32.672" v="7031" actId="478"/>
          <ac:spMkLst>
            <pc:docMk/>
            <pc:sldMk cId="2831065698" sldId="650"/>
            <ac:spMk id="4" creationId="{2CD46D64-4BEE-FE46-8668-446C78AF9B3D}"/>
          </ac:spMkLst>
        </pc:spChg>
        <pc:spChg chg="mod topLvl">
          <ac:chgData name="Miraj Sinya" userId="a6e95797-5893-4261-9f10-8f81f198df75" providerId="ADAL" clId="{53F80C9B-833D-4693-AFD3-13DDAF0ECA52}" dt="2023-11-14T02:30:41.831" v="1128" actId="1076"/>
          <ac:spMkLst>
            <pc:docMk/>
            <pc:sldMk cId="2831065698" sldId="650"/>
            <ac:spMk id="4" creationId="{EAD09D3E-39E8-D2B3-4185-ECB95D73879B}"/>
          </ac:spMkLst>
        </pc:spChg>
        <pc:spChg chg="mod topLvl">
          <ac:chgData name="Miraj Sinya" userId="a6e95797-5893-4261-9f10-8f81f198df75" providerId="ADAL" clId="{53F80C9B-833D-4693-AFD3-13DDAF0ECA52}" dt="2023-11-15T01:01:13.351" v="7019" actId="571"/>
          <ac:spMkLst>
            <pc:docMk/>
            <pc:sldMk cId="2831065698" sldId="650"/>
            <ac:spMk id="5" creationId="{FCCB7B40-9EC7-C3F0-A608-13106A27C705}"/>
          </ac:spMkLst>
        </pc:spChg>
        <pc:spChg chg="mod">
          <ac:chgData name="Miraj Sinya" userId="a6e95797-5893-4261-9f10-8f81f198df75" providerId="ADAL" clId="{53F80C9B-833D-4693-AFD3-13DDAF0ECA52}" dt="2023-11-14T02:01:55.135" v="645"/>
          <ac:spMkLst>
            <pc:docMk/>
            <pc:sldMk cId="2831065698" sldId="650"/>
            <ac:spMk id="7" creationId="{EAF88D4E-8558-5B08-4B1A-E3CFE1E3FBC0}"/>
          </ac:spMkLst>
        </pc:spChg>
        <pc:spChg chg="mod">
          <ac:chgData name="Miraj Sinya" userId="a6e95797-5893-4261-9f10-8f81f198df75" providerId="ADAL" clId="{53F80C9B-833D-4693-AFD3-13DDAF0ECA52}" dt="2023-11-14T02:01:55.135" v="645"/>
          <ac:spMkLst>
            <pc:docMk/>
            <pc:sldMk cId="2831065698" sldId="650"/>
            <ac:spMk id="10" creationId="{D7A7A3EE-64F3-3B2E-84EF-2E691A8969C1}"/>
          </ac:spMkLst>
        </pc:spChg>
        <pc:spChg chg="add mod">
          <ac:chgData name="Miraj Sinya" userId="a6e95797-5893-4261-9f10-8f81f198df75" providerId="ADAL" clId="{53F80C9B-833D-4693-AFD3-13DDAF0ECA52}" dt="2023-11-14T04:57:44.810" v="2611" actId="20577"/>
          <ac:spMkLst>
            <pc:docMk/>
            <pc:sldMk cId="2831065698" sldId="650"/>
            <ac:spMk id="12" creationId="{1C10229D-3D11-B39E-441F-0D19A8FEF877}"/>
          </ac:spMkLst>
        </pc:spChg>
        <pc:spChg chg="mod">
          <ac:chgData name="Miraj Sinya" userId="a6e95797-5893-4261-9f10-8f81f198df75" providerId="ADAL" clId="{53F80C9B-833D-4693-AFD3-13DDAF0ECA52}" dt="2023-11-15T01:02:02.481" v="7028" actId="207"/>
          <ac:spMkLst>
            <pc:docMk/>
            <pc:sldMk cId="2831065698" sldId="650"/>
            <ac:spMk id="13" creationId="{1648B700-F83B-0BE9-28F6-234DD5B4574A}"/>
          </ac:spMkLst>
        </pc:spChg>
        <pc:spChg chg="mod topLvl">
          <ac:chgData name="Miraj Sinya" userId="a6e95797-5893-4261-9f10-8f81f198df75" providerId="ADAL" clId="{53F80C9B-833D-4693-AFD3-13DDAF0ECA52}" dt="2023-11-15T01:01:13.351" v="7019" actId="571"/>
          <ac:spMkLst>
            <pc:docMk/>
            <pc:sldMk cId="2831065698" sldId="650"/>
            <ac:spMk id="14" creationId="{E1F0423E-9869-5856-7936-A612CC599463}"/>
          </ac:spMkLst>
        </pc:spChg>
        <pc:spChg chg="mod topLvl">
          <ac:chgData name="Miraj Sinya" userId="a6e95797-5893-4261-9f10-8f81f198df75" providerId="ADAL" clId="{53F80C9B-833D-4693-AFD3-13DDAF0ECA52}" dt="2023-11-15T01:01:13.351" v="7019" actId="571"/>
          <ac:spMkLst>
            <pc:docMk/>
            <pc:sldMk cId="2831065698" sldId="650"/>
            <ac:spMk id="15" creationId="{E76101ED-A0AE-96C3-3E6B-E58DB7B71C73}"/>
          </ac:spMkLst>
        </pc:spChg>
        <pc:spChg chg="mod topLvl">
          <ac:chgData name="Miraj Sinya" userId="a6e95797-5893-4261-9f10-8f81f198df75" providerId="ADAL" clId="{53F80C9B-833D-4693-AFD3-13DDAF0ECA52}" dt="2023-11-15T01:01:13.351" v="7019" actId="571"/>
          <ac:spMkLst>
            <pc:docMk/>
            <pc:sldMk cId="2831065698" sldId="650"/>
            <ac:spMk id="17" creationId="{43C484F3-AA85-7B8B-BF52-E72EBFC396BF}"/>
          </ac:spMkLst>
        </pc:spChg>
        <pc:spChg chg="mod topLvl">
          <ac:chgData name="Miraj Sinya" userId="a6e95797-5893-4261-9f10-8f81f198df75" providerId="ADAL" clId="{53F80C9B-833D-4693-AFD3-13DDAF0ECA52}" dt="2023-11-15T01:01:13.351" v="7019" actId="571"/>
          <ac:spMkLst>
            <pc:docMk/>
            <pc:sldMk cId="2831065698" sldId="650"/>
            <ac:spMk id="18" creationId="{F9211A94-7310-2D7B-BEB3-7E9C28F93C44}"/>
          </ac:spMkLst>
        </pc:spChg>
        <pc:spChg chg="mod">
          <ac:chgData name="Miraj Sinya" userId="a6e95797-5893-4261-9f10-8f81f198df75" providerId="ADAL" clId="{53F80C9B-833D-4693-AFD3-13DDAF0ECA52}" dt="2023-11-15T01:01:13.351" v="7019" actId="571"/>
          <ac:spMkLst>
            <pc:docMk/>
            <pc:sldMk cId="2831065698" sldId="650"/>
            <ac:spMk id="20" creationId="{32FB1D1E-80DE-49DD-3570-1E7926B1582C}"/>
          </ac:spMkLst>
        </pc:spChg>
        <pc:spChg chg="mod">
          <ac:chgData name="Miraj Sinya" userId="a6e95797-5893-4261-9f10-8f81f198df75" providerId="ADAL" clId="{53F80C9B-833D-4693-AFD3-13DDAF0ECA52}" dt="2023-11-14T02:05:38.943" v="713" actId="571"/>
          <ac:spMkLst>
            <pc:docMk/>
            <pc:sldMk cId="2831065698" sldId="650"/>
            <ac:spMk id="21" creationId="{4233CB64-D53B-C489-96D3-25E1B72B0CE4}"/>
          </ac:spMkLst>
        </pc:spChg>
        <pc:spChg chg="mod">
          <ac:chgData name="Miraj Sinya" userId="a6e95797-5893-4261-9f10-8f81f198df75" providerId="ADAL" clId="{53F80C9B-833D-4693-AFD3-13DDAF0ECA52}" dt="2023-11-15T01:01:13.351" v="7019" actId="571"/>
          <ac:spMkLst>
            <pc:docMk/>
            <pc:sldMk cId="2831065698" sldId="650"/>
            <ac:spMk id="21" creationId="{6F516CA5-FD91-6D3D-1382-2328F9066062}"/>
          </ac:spMkLst>
        </pc:spChg>
        <pc:spChg chg="mod">
          <ac:chgData name="Miraj Sinya" userId="a6e95797-5893-4261-9f10-8f81f198df75" providerId="ADAL" clId="{53F80C9B-833D-4693-AFD3-13DDAF0ECA52}" dt="2023-11-14T02:05:38.943" v="713" actId="571"/>
          <ac:spMkLst>
            <pc:docMk/>
            <pc:sldMk cId="2831065698" sldId="650"/>
            <ac:spMk id="22" creationId="{902FE950-E17F-D490-7777-923164E44A50}"/>
          </ac:spMkLst>
        </pc:spChg>
        <pc:spChg chg="add mod">
          <ac:chgData name="Miraj Sinya" userId="a6e95797-5893-4261-9f10-8f81f198df75" providerId="ADAL" clId="{53F80C9B-833D-4693-AFD3-13DDAF0ECA52}" dt="2023-11-15T01:01:36.940" v="7023" actId="14100"/>
          <ac:spMkLst>
            <pc:docMk/>
            <pc:sldMk cId="2831065698" sldId="650"/>
            <ac:spMk id="22" creationId="{FE4F25D1-2D22-9559-1853-C76935BE10ED}"/>
          </ac:spMkLst>
        </pc:spChg>
        <pc:spChg chg="add del mod topLvl">
          <ac:chgData name="Miraj Sinya" userId="a6e95797-5893-4261-9f10-8f81f198df75" providerId="ADAL" clId="{53F80C9B-833D-4693-AFD3-13DDAF0ECA52}" dt="2023-11-14T02:09:22.031" v="733" actId="478"/>
          <ac:spMkLst>
            <pc:docMk/>
            <pc:sldMk cId="2831065698" sldId="650"/>
            <ac:spMk id="23" creationId="{D9F033DD-8459-5DCF-8845-A2B8C5C1291B}"/>
          </ac:spMkLst>
        </pc:spChg>
        <pc:spChg chg="add mod topLvl">
          <ac:chgData name="Miraj Sinya" userId="a6e95797-5893-4261-9f10-8f81f198df75" providerId="ADAL" clId="{53F80C9B-833D-4693-AFD3-13DDAF0ECA52}" dt="2023-11-15T01:01:13.351" v="7019" actId="571"/>
          <ac:spMkLst>
            <pc:docMk/>
            <pc:sldMk cId="2831065698" sldId="650"/>
            <ac:spMk id="24" creationId="{6AAE8881-0C12-E0C4-9B54-690FB3D493C7}"/>
          </ac:spMkLst>
        </pc:spChg>
        <pc:spChg chg="add mod topLvl">
          <ac:chgData name="Miraj Sinya" userId="a6e95797-5893-4261-9f10-8f81f198df75" providerId="ADAL" clId="{53F80C9B-833D-4693-AFD3-13DDAF0ECA52}" dt="2023-11-15T01:01:13.351" v="7019" actId="571"/>
          <ac:spMkLst>
            <pc:docMk/>
            <pc:sldMk cId="2831065698" sldId="650"/>
            <ac:spMk id="25" creationId="{CFF57458-C221-9C02-F8E4-99CA3647C1F5}"/>
          </ac:spMkLst>
        </pc:spChg>
        <pc:spChg chg="add mod topLvl">
          <ac:chgData name="Miraj Sinya" userId="a6e95797-5893-4261-9f10-8f81f198df75" providerId="ADAL" clId="{53F80C9B-833D-4693-AFD3-13DDAF0ECA52}" dt="2023-11-15T01:01:13.351" v="7019" actId="571"/>
          <ac:spMkLst>
            <pc:docMk/>
            <pc:sldMk cId="2831065698" sldId="650"/>
            <ac:spMk id="26" creationId="{4A5DAABD-AA32-7007-4F9D-EA588C7FB110}"/>
          </ac:spMkLst>
        </pc:spChg>
        <pc:spChg chg="add mod">
          <ac:chgData name="Miraj Sinya" userId="a6e95797-5893-4261-9f10-8f81f198df75" providerId="ADAL" clId="{53F80C9B-833D-4693-AFD3-13DDAF0ECA52}" dt="2023-11-15T01:02:07.812" v="7030" actId="207"/>
          <ac:spMkLst>
            <pc:docMk/>
            <pc:sldMk cId="2831065698" sldId="650"/>
            <ac:spMk id="28" creationId="{CA684122-BAE0-61E5-10B7-2DFD31B32597}"/>
          </ac:spMkLst>
        </pc:spChg>
        <pc:spChg chg="add mod topLvl">
          <ac:chgData name="Miraj Sinya" userId="a6e95797-5893-4261-9f10-8f81f198df75" providerId="ADAL" clId="{53F80C9B-833D-4693-AFD3-13DDAF0ECA52}" dt="2023-11-15T01:01:13.351" v="7019" actId="571"/>
          <ac:spMkLst>
            <pc:docMk/>
            <pc:sldMk cId="2831065698" sldId="650"/>
            <ac:spMk id="29" creationId="{94907A01-1A25-E460-B380-1959B6707637}"/>
          </ac:spMkLst>
        </pc:spChg>
        <pc:spChg chg="add mod topLvl">
          <ac:chgData name="Miraj Sinya" userId="a6e95797-5893-4261-9f10-8f81f198df75" providerId="ADAL" clId="{53F80C9B-833D-4693-AFD3-13DDAF0ECA52}" dt="2023-11-15T01:01:13.351" v="7019" actId="571"/>
          <ac:spMkLst>
            <pc:docMk/>
            <pc:sldMk cId="2831065698" sldId="650"/>
            <ac:spMk id="30" creationId="{0F773E4A-A157-62FB-DB84-FB4B17EE1AF0}"/>
          </ac:spMkLst>
        </pc:spChg>
        <pc:spChg chg="add mod">
          <ac:chgData name="Miraj Sinya" userId="a6e95797-5893-4261-9f10-8f81f198df75" providerId="ADAL" clId="{53F80C9B-833D-4693-AFD3-13DDAF0ECA52}" dt="2023-11-15T01:02:05.092" v="7029" actId="207"/>
          <ac:spMkLst>
            <pc:docMk/>
            <pc:sldMk cId="2831065698" sldId="650"/>
            <ac:spMk id="31" creationId="{70A76DD9-65F8-92BA-9239-9AC3B8CA778C}"/>
          </ac:spMkLst>
        </pc:spChg>
        <pc:spChg chg="add mod topLvl">
          <ac:chgData name="Miraj Sinya" userId="a6e95797-5893-4261-9f10-8f81f198df75" providerId="ADAL" clId="{53F80C9B-833D-4693-AFD3-13DDAF0ECA52}" dt="2023-11-15T01:01:13.351" v="7019" actId="571"/>
          <ac:spMkLst>
            <pc:docMk/>
            <pc:sldMk cId="2831065698" sldId="650"/>
            <ac:spMk id="34" creationId="{95822498-F409-1E72-74A9-348F814E8A20}"/>
          </ac:spMkLst>
        </pc:spChg>
        <pc:spChg chg="mod topLvl">
          <ac:chgData name="Miraj Sinya" userId="a6e95797-5893-4261-9f10-8f81f198df75" providerId="ADAL" clId="{53F80C9B-833D-4693-AFD3-13DDAF0ECA52}" dt="2023-11-15T01:01:13.351" v="7019" actId="571"/>
          <ac:spMkLst>
            <pc:docMk/>
            <pc:sldMk cId="2831065698" sldId="650"/>
            <ac:spMk id="36" creationId="{B0D538C7-973E-EE8F-E030-21B2B7475AD7}"/>
          </ac:spMkLst>
        </pc:spChg>
        <pc:spChg chg="mod topLvl">
          <ac:chgData name="Miraj Sinya" userId="a6e95797-5893-4261-9f10-8f81f198df75" providerId="ADAL" clId="{53F80C9B-833D-4693-AFD3-13DDAF0ECA52}" dt="2023-11-15T01:01:13.351" v="7019" actId="571"/>
          <ac:spMkLst>
            <pc:docMk/>
            <pc:sldMk cId="2831065698" sldId="650"/>
            <ac:spMk id="37" creationId="{8C732DDC-57E5-B81C-E7F2-81B11CF32F89}"/>
          </ac:spMkLst>
        </pc:spChg>
        <pc:spChg chg="mod">
          <ac:chgData name="Miraj Sinya" userId="a6e95797-5893-4261-9f10-8f81f198df75" providerId="ADAL" clId="{53F80C9B-833D-4693-AFD3-13DDAF0ECA52}" dt="2023-11-15T00:59:34.954" v="6993"/>
          <ac:spMkLst>
            <pc:docMk/>
            <pc:sldMk cId="2831065698" sldId="650"/>
            <ac:spMk id="38" creationId="{E0440CA4-067C-4475-46F4-23673071F63B}"/>
          </ac:spMkLst>
        </pc:spChg>
        <pc:spChg chg="mod">
          <ac:chgData name="Miraj Sinya" userId="a6e95797-5893-4261-9f10-8f81f198df75" providerId="ADAL" clId="{53F80C9B-833D-4693-AFD3-13DDAF0ECA52}" dt="2023-11-15T01:01:13.351" v="7019" actId="571"/>
          <ac:spMkLst>
            <pc:docMk/>
            <pc:sldMk cId="2831065698" sldId="650"/>
            <ac:spMk id="48" creationId="{84FAF74A-749B-9789-5022-B5CC1D18BED9}"/>
          </ac:spMkLst>
        </pc:spChg>
        <pc:spChg chg="mod">
          <ac:chgData name="Miraj Sinya" userId="a6e95797-5893-4261-9f10-8f81f198df75" providerId="ADAL" clId="{53F80C9B-833D-4693-AFD3-13DDAF0ECA52}" dt="2023-11-15T01:01:13.351" v="7019" actId="571"/>
          <ac:spMkLst>
            <pc:docMk/>
            <pc:sldMk cId="2831065698" sldId="650"/>
            <ac:spMk id="49" creationId="{52D558D5-CAD0-094E-6B00-CC856DEB9033}"/>
          </ac:spMkLst>
        </pc:spChg>
        <pc:spChg chg="mod">
          <ac:chgData name="Miraj Sinya" userId="a6e95797-5893-4261-9f10-8f81f198df75" providerId="ADAL" clId="{53F80C9B-833D-4693-AFD3-13DDAF0ECA52}" dt="2023-11-14T02:16:58.355" v="925" actId="571"/>
          <ac:spMkLst>
            <pc:docMk/>
            <pc:sldMk cId="2831065698" sldId="650"/>
            <ac:spMk id="51" creationId="{95DE7F3A-E954-24AC-5790-6ED9231432E8}"/>
          </ac:spMkLst>
        </pc:spChg>
        <pc:spChg chg="mod">
          <ac:chgData name="Miraj Sinya" userId="a6e95797-5893-4261-9f10-8f81f198df75" providerId="ADAL" clId="{53F80C9B-833D-4693-AFD3-13DDAF0ECA52}" dt="2023-11-14T03:21:24.627" v="1502"/>
          <ac:spMkLst>
            <pc:docMk/>
            <pc:sldMk cId="2831065698" sldId="650"/>
            <ac:spMk id="52" creationId="{69A5CE4A-6D46-010E-BF0F-ADE10F73DACF}"/>
          </ac:spMkLst>
        </pc:spChg>
        <pc:spChg chg="add mod">
          <ac:chgData name="Miraj Sinya" userId="a6e95797-5893-4261-9f10-8f81f198df75" providerId="ADAL" clId="{53F80C9B-833D-4693-AFD3-13DDAF0ECA52}" dt="2023-11-15T01:01:13.351" v="7019" actId="571"/>
          <ac:spMkLst>
            <pc:docMk/>
            <pc:sldMk cId="2831065698" sldId="650"/>
            <ac:spMk id="56" creationId="{3C7A6BD0-90EE-F67B-3516-256ADB5F0C4D}"/>
          </ac:spMkLst>
        </pc:spChg>
        <pc:spChg chg="add mod">
          <ac:chgData name="Miraj Sinya" userId="a6e95797-5893-4261-9f10-8f81f198df75" providerId="ADAL" clId="{53F80C9B-833D-4693-AFD3-13DDAF0ECA52}" dt="2023-11-15T01:01:13.351" v="7019" actId="571"/>
          <ac:spMkLst>
            <pc:docMk/>
            <pc:sldMk cId="2831065698" sldId="650"/>
            <ac:spMk id="70" creationId="{A729D434-4578-EB03-EC4B-C0262BB22BEE}"/>
          </ac:spMkLst>
        </pc:spChg>
        <pc:grpChg chg="add del mod">
          <ac:chgData name="Miraj Sinya" userId="a6e95797-5893-4261-9f10-8f81f198df75" providerId="ADAL" clId="{53F80C9B-833D-4693-AFD3-13DDAF0ECA52}" dt="2023-11-14T02:04:03.063" v="659" actId="165"/>
          <ac:grpSpMkLst>
            <pc:docMk/>
            <pc:sldMk cId="2831065698" sldId="650"/>
            <ac:grpSpMk id="3" creationId="{6E6B3176-084D-A26A-E8F8-04D51864C48D}"/>
          </ac:grpSpMkLst>
        </pc:grpChg>
        <pc:grpChg chg="add mod">
          <ac:chgData name="Miraj Sinya" userId="a6e95797-5893-4261-9f10-8f81f198df75" providerId="ADAL" clId="{53F80C9B-833D-4693-AFD3-13DDAF0ECA52}" dt="2023-11-15T01:00:01.018" v="6995" actId="554"/>
          <ac:grpSpMkLst>
            <pc:docMk/>
            <pc:sldMk cId="2831065698" sldId="650"/>
            <ac:grpSpMk id="6" creationId="{EAD5A4FF-E655-C2FE-60B3-06BFAAC88B3F}"/>
          </ac:grpSpMkLst>
        </pc:grpChg>
        <pc:grpChg chg="add del mod">
          <ac:chgData name="Miraj Sinya" userId="a6e95797-5893-4261-9f10-8f81f198df75" providerId="ADAL" clId="{53F80C9B-833D-4693-AFD3-13DDAF0ECA52}" dt="2023-11-15T00:59:48.568" v="6994" actId="478"/>
          <ac:grpSpMkLst>
            <pc:docMk/>
            <pc:sldMk cId="2831065698" sldId="650"/>
            <ac:grpSpMk id="9" creationId="{1FA23032-BB55-F50B-F3E4-4F050212CA9F}"/>
          </ac:grpSpMkLst>
        </pc:grpChg>
        <pc:grpChg chg="add del mod">
          <ac:chgData name="Miraj Sinya" userId="a6e95797-5893-4261-9f10-8f81f198df75" providerId="ADAL" clId="{53F80C9B-833D-4693-AFD3-13DDAF0ECA52}" dt="2023-11-14T02:02:35.462" v="652" actId="165"/>
          <ac:grpSpMkLst>
            <pc:docMk/>
            <pc:sldMk cId="2831065698" sldId="650"/>
            <ac:grpSpMk id="13" creationId="{5B071148-8B4D-EFCB-529A-108C788C2E45}"/>
          </ac:grpSpMkLst>
        </pc:grpChg>
        <pc:grpChg chg="add del mod">
          <ac:chgData name="Miraj Sinya" userId="a6e95797-5893-4261-9f10-8f81f198df75" providerId="ADAL" clId="{53F80C9B-833D-4693-AFD3-13DDAF0ECA52}" dt="2023-11-14T02:05:18.228" v="706" actId="165"/>
          <ac:grpSpMkLst>
            <pc:docMk/>
            <pc:sldMk cId="2831065698" sldId="650"/>
            <ac:grpSpMk id="16" creationId="{492D1321-FAAB-DCA1-E8BC-2554CADE6D40}"/>
          </ac:grpSpMkLst>
        </pc:grpChg>
        <pc:grpChg chg="add mod">
          <ac:chgData name="Miraj Sinya" userId="a6e95797-5893-4261-9f10-8f81f198df75" providerId="ADAL" clId="{53F80C9B-833D-4693-AFD3-13DDAF0ECA52}" dt="2023-11-15T01:01:13.351" v="7019" actId="571"/>
          <ac:grpSpMkLst>
            <pc:docMk/>
            <pc:sldMk cId="2831065698" sldId="650"/>
            <ac:grpSpMk id="16" creationId="{D5870E25-23D7-58A9-3026-48A90560B3F8}"/>
          </ac:grpSpMkLst>
        </pc:grpChg>
        <pc:grpChg chg="add mod">
          <ac:chgData name="Miraj Sinya" userId="a6e95797-5893-4261-9f10-8f81f198df75" providerId="ADAL" clId="{53F80C9B-833D-4693-AFD3-13DDAF0ECA52}" dt="2023-11-15T01:01:13.351" v="7019" actId="571"/>
          <ac:grpSpMkLst>
            <pc:docMk/>
            <pc:sldMk cId="2831065698" sldId="650"/>
            <ac:grpSpMk id="19" creationId="{ECB696E0-173A-790D-32C0-0C4458285BCF}"/>
          </ac:grpSpMkLst>
        </pc:grpChg>
        <pc:grpChg chg="add del mod">
          <ac:chgData name="Miraj Sinya" userId="a6e95797-5893-4261-9f10-8f81f198df75" providerId="ADAL" clId="{53F80C9B-833D-4693-AFD3-13DDAF0ECA52}" dt="2023-11-14T02:08:04.905" v="722" actId="478"/>
          <ac:grpSpMkLst>
            <pc:docMk/>
            <pc:sldMk cId="2831065698" sldId="650"/>
            <ac:grpSpMk id="20" creationId="{4E64327D-3583-C3B2-3483-6CA694B872EA}"/>
          </ac:grpSpMkLst>
        </pc:grpChg>
        <pc:grpChg chg="add del mod topLvl">
          <ac:chgData name="Miraj Sinya" userId="a6e95797-5893-4261-9f10-8f81f198df75" providerId="ADAL" clId="{53F80C9B-833D-4693-AFD3-13DDAF0ECA52}" dt="2023-11-14T03:14:05.475" v="1355" actId="165"/>
          <ac:grpSpMkLst>
            <pc:docMk/>
            <pc:sldMk cId="2831065698" sldId="650"/>
            <ac:grpSpMk id="31" creationId="{2B6F6B1E-A09F-BFFF-5355-F47A2308F07C}"/>
          </ac:grpSpMkLst>
        </pc:grpChg>
        <pc:grpChg chg="add mod">
          <ac:chgData name="Miraj Sinya" userId="a6e95797-5893-4261-9f10-8f81f198df75" providerId="ADAL" clId="{53F80C9B-833D-4693-AFD3-13DDAF0ECA52}" dt="2023-11-15T01:00:01.018" v="6995" actId="554"/>
          <ac:grpSpMkLst>
            <pc:docMk/>
            <pc:sldMk cId="2831065698" sldId="650"/>
            <ac:grpSpMk id="35" creationId="{0CB73156-EE00-1C1B-600E-9D7D83A48624}"/>
          </ac:grpSpMkLst>
        </pc:grpChg>
        <pc:grpChg chg="add del mod topLvl">
          <ac:chgData name="Miraj Sinya" userId="a6e95797-5893-4261-9f10-8f81f198df75" providerId="ADAL" clId="{53F80C9B-833D-4693-AFD3-13DDAF0ECA52}" dt="2023-11-14T03:14:05.972" v="1368" actId="165"/>
          <ac:grpSpMkLst>
            <pc:docMk/>
            <pc:sldMk cId="2831065698" sldId="650"/>
            <ac:grpSpMk id="35" creationId="{F56802F7-6D6E-812D-A6C1-7F55F080105D}"/>
          </ac:grpSpMkLst>
        </pc:grpChg>
        <pc:grpChg chg="add del mod">
          <ac:chgData name="Miraj Sinya" userId="a6e95797-5893-4261-9f10-8f81f198df75" providerId="ADAL" clId="{53F80C9B-833D-4693-AFD3-13DDAF0ECA52}" dt="2023-11-14T02:08:54.312" v="727" actId="165"/>
          <ac:grpSpMkLst>
            <pc:docMk/>
            <pc:sldMk cId="2831065698" sldId="650"/>
            <ac:grpSpMk id="38" creationId="{C1AEDE87-79FF-B067-444B-ADF2E92FA70E}"/>
          </ac:grpSpMkLst>
        </pc:grpChg>
        <pc:grpChg chg="add mod">
          <ac:chgData name="Miraj Sinya" userId="a6e95797-5893-4261-9f10-8f81f198df75" providerId="ADAL" clId="{53F80C9B-833D-4693-AFD3-13DDAF0ECA52}" dt="2023-11-15T01:01:13.351" v="7019" actId="571"/>
          <ac:grpSpMkLst>
            <pc:docMk/>
            <pc:sldMk cId="2831065698" sldId="650"/>
            <ac:grpSpMk id="40" creationId="{F76FF565-8357-EBB0-720F-4936B8B22082}"/>
          </ac:grpSpMkLst>
        </pc:grpChg>
        <pc:grpChg chg="add mod">
          <ac:chgData name="Miraj Sinya" userId="a6e95797-5893-4261-9f10-8f81f198df75" providerId="ADAL" clId="{53F80C9B-833D-4693-AFD3-13DDAF0ECA52}" dt="2023-11-14T02:09:04.812" v="731" actId="164"/>
          <ac:grpSpMkLst>
            <pc:docMk/>
            <pc:sldMk cId="2831065698" sldId="650"/>
            <ac:grpSpMk id="42" creationId="{CCD580BC-62BD-2F7D-F104-B7279DC39D5D}"/>
          </ac:grpSpMkLst>
        </pc:grpChg>
        <pc:grpChg chg="add mod">
          <ac:chgData name="Miraj Sinya" userId="a6e95797-5893-4261-9f10-8f81f198df75" providerId="ADAL" clId="{53F80C9B-833D-4693-AFD3-13DDAF0ECA52}" dt="2023-11-15T01:01:13.351" v="7019" actId="571"/>
          <ac:grpSpMkLst>
            <pc:docMk/>
            <pc:sldMk cId="2831065698" sldId="650"/>
            <ac:grpSpMk id="47" creationId="{4FE1B92A-5B14-D546-ADFC-D6839CF5B995}"/>
          </ac:grpSpMkLst>
        </pc:grpChg>
        <pc:grpChg chg="add mod">
          <ac:chgData name="Miraj Sinya" userId="a6e95797-5893-4261-9f10-8f81f198df75" providerId="ADAL" clId="{53F80C9B-833D-4693-AFD3-13DDAF0ECA52}" dt="2023-11-14T03:17:59.281" v="1430" actId="1076"/>
          <ac:grpSpMkLst>
            <pc:docMk/>
            <pc:sldMk cId="2831065698" sldId="650"/>
            <ac:grpSpMk id="50" creationId="{8DD090EF-16DA-E9D9-6423-9CB0FFA53310}"/>
          </ac:grpSpMkLst>
        </pc:grpChg>
        <pc:grpChg chg="add mod">
          <ac:chgData name="Miraj Sinya" userId="a6e95797-5893-4261-9f10-8f81f198df75" providerId="ADAL" clId="{53F80C9B-833D-4693-AFD3-13DDAF0ECA52}" dt="2023-11-15T01:01:13.351" v="7019" actId="571"/>
          <ac:grpSpMkLst>
            <pc:docMk/>
            <pc:sldMk cId="2831065698" sldId="650"/>
            <ac:grpSpMk id="68" creationId="{A8A9DD93-29AE-23FE-AC53-FE4883AE5944}"/>
          </ac:grpSpMkLst>
        </pc:grpChg>
        <pc:cxnChg chg="mod">
          <ac:chgData name="Miraj Sinya" userId="a6e95797-5893-4261-9f10-8f81f198df75" providerId="ADAL" clId="{53F80C9B-833D-4693-AFD3-13DDAF0ECA52}" dt="2023-11-14T02:01:55.135" v="645"/>
          <ac:cxnSpMkLst>
            <pc:docMk/>
            <pc:sldMk cId="2831065698" sldId="650"/>
            <ac:cxnSpMk id="8" creationId="{978C38A4-5604-9F6B-9D18-F620D3DD3E9D}"/>
          </ac:cxnSpMkLst>
        </pc:cxnChg>
        <pc:cxnChg chg="mod">
          <ac:chgData name="Miraj Sinya" userId="a6e95797-5893-4261-9f10-8f81f198df75" providerId="ADAL" clId="{53F80C9B-833D-4693-AFD3-13DDAF0ECA52}" dt="2023-11-14T02:01:55.135" v="645"/>
          <ac:cxnSpMkLst>
            <pc:docMk/>
            <pc:sldMk cId="2831065698" sldId="650"/>
            <ac:cxnSpMk id="11" creationId="{8EC14D00-4BC9-CA94-5F6F-1C4D845E2A5C}"/>
          </ac:cxnSpMkLst>
        </pc:cxnChg>
        <pc:cxnChg chg="add mod">
          <ac:chgData name="Miraj Sinya" userId="a6e95797-5893-4261-9f10-8f81f198df75" providerId="ADAL" clId="{53F80C9B-833D-4693-AFD3-13DDAF0ECA52}" dt="2023-11-15T01:01:13.351" v="7019" actId="571"/>
          <ac:cxnSpMkLst>
            <pc:docMk/>
            <pc:sldMk cId="2831065698" sldId="650"/>
            <ac:cxnSpMk id="12" creationId="{806EEFD1-595D-17C8-9898-777231CA134E}"/>
          </ac:cxnSpMkLst>
        </pc:cxnChg>
        <pc:cxnChg chg="add mod">
          <ac:chgData name="Miraj Sinya" userId="a6e95797-5893-4261-9f10-8f81f198df75" providerId="ADAL" clId="{53F80C9B-833D-4693-AFD3-13DDAF0ECA52}" dt="2023-11-15T01:01:29.696" v="7022" actId="465"/>
          <ac:cxnSpMkLst>
            <pc:docMk/>
            <pc:sldMk cId="2831065698" sldId="650"/>
            <ac:cxnSpMk id="23" creationId="{DEF9C93E-2B2A-F033-4198-15602001A0ED}"/>
          </ac:cxnSpMkLst>
        </pc:cxnChg>
        <pc:cxnChg chg="add mod topLvl">
          <ac:chgData name="Miraj Sinya" userId="a6e95797-5893-4261-9f10-8f81f198df75" providerId="ADAL" clId="{53F80C9B-833D-4693-AFD3-13DDAF0ECA52}" dt="2023-11-15T01:01:13.351" v="7019" actId="571"/>
          <ac:cxnSpMkLst>
            <pc:docMk/>
            <pc:sldMk cId="2831065698" sldId="650"/>
            <ac:cxnSpMk id="27" creationId="{96FC21D2-7381-7FD1-9643-A45576568DEF}"/>
          </ac:cxnSpMkLst>
        </pc:cxnChg>
        <pc:cxnChg chg="add del mod topLvl">
          <ac:chgData name="Miraj Sinya" userId="a6e95797-5893-4261-9f10-8f81f198df75" providerId="ADAL" clId="{53F80C9B-833D-4693-AFD3-13DDAF0ECA52}" dt="2023-11-14T02:09:08.844" v="732" actId="478"/>
          <ac:cxnSpMkLst>
            <pc:docMk/>
            <pc:sldMk cId="2831065698" sldId="650"/>
            <ac:cxnSpMk id="28" creationId="{1FA1BD5D-7D07-4F09-3EAF-A1FA03C253B9}"/>
          </ac:cxnSpMkLst>
        </pc:cxnChg>
        <pc:cxnChg chg="mod topLvl">
          <ac:chgData name="Miraj Sinya" userId="a6e95797-5893-4261-9f10-8f81f198df75" providerId="ADAL" clId="{53F80C9B-833D-4693-AFD3-13DDAF0ECA52}" dt="2023-11-15T01:01:13.351" v="7019" actId="571"/>
          <ac:cxnSpMkLst>
            <pc:docMk/>
            <pc:sldMk cId="2831065698" sldId="650"/>
            <ac:cxnSpMk id="32" creationId="{62FEF289-05D7-E15D-AAC3-A844F7234811}"/>
          </ac:cxnSpMkLst>
        </pc:cxnChg>
        <pc:cxnChg chg="mod topLvl">
          <ac:chgData name="Miraj Sinya" userId="a6e95797-5893-4261-9f10-8f81f198df75" providerId="ADAL" clId="{53F80C9B-833D-4693-AFD3-13DDAF0ECA52}" dt="2023-11-15T01:01:13.351" v="7019" actId="571"/>
          <ac:cxnSpMkLst>
            <pc:docMk/>
            <pc:sldMk cId="2831065698" sldId="650"/>
            <ac:cxnSpMk id="33" creationId="{C342B4FC-0441-E9E9-D724-2947E72F13E1}"/>
          </ac:cxnSpMkLst>
        </pc:cxnChg>
        <pc:cxnChg chg="mod">
          <ac:chgData name="Miraj Sinya" userId="a6e95797-5893-4261-9f10-8f81f198df75" providerId="ADAL" clId="{53F80C9B-833D-4693-AFD3-13DDAF0ECA52}" dt="2023-11-15T00:59:34.954" v="6993"/>
          <ac:cxnSpMkLst>
            <pc:docMk/>
            <pc:sldMk cId="2831065698" sldId="650"/>
            <ac:cxnSpMk id="39" creationId="{ED25A039-1E4F-C486-6A7C-2B54994187A9}"/>
          </ac:cxnSpMkLst>
        </pc:cxnChg>
        <pc:cxnChg chg="add mod">
          <ac:chgData name="Miraj Sinya" userId="a6e95797-5893-4261-9f10-8f81f198df75" providerId="ADAL" clId="{53F80C9B-833D-4693-AFD3-13DDAF0ECA52}" dt="2023-11-15T01:01:29.696" v="7022" actId="465"/>
          <ac:cxnSpMkLst>
            <pc:docMk/>
            <pc:sldMk cId="2831065698" sldId="650"/>
            <ac:cxnSpMk id="41" creationId="{975D8A50-DB30-91C1-9DBC-60040604C9F6}"/>
          </ac:cxnSpMkLst>
        </pc:cxnChg>
        <pc:cxnChg chg="add mod">
          <ac:chgData name="Miraj Sinya" userId="a6e95797-5893-4261-9f10-8f81f198df75" providerId="ADAL" clId="{53F80C9B-833D-4693-AFD3-13DDAF0ECA52}" dt="2023-11-15T01:01:13.351" v="7019" actId="571"/>
          <ac:cxnSpMkLst>
            <pc:docMk/>
            <pc:sldMk cId="2831065698" sldId="650"/>
            <ac:cxnSpMk id="44" creationId="{5C9E2843-D5C1-05D9-7F06-B95C4143BA02}"/>
          </ac:cxnSpMkLst>
        </pc:cxnChg>
        <pc:cxnChg chg="add mod">
          <ac:chgData name="Miraj Sinya" userId="a6e95797-5893-4261-9f10-8f81f198df75" providerId="ADAL" clId="{53F80C9B-833D-4693-AFD3-13DDAF0ECA52}" dt="2023-11-15T01:01:13.351" v="7019" actId="571"/>
          <ac:cxnSpMkLst>
            <pc:docMk/>
            <pc:sldMk cId="2831065698" sldId="650"/>
            <ac:cxnSpMk id="53" creationId="{8C59161B-E234-F270-C9E2-F3DA7038320D}"/>
          </ac:cxnSpMkLst>
        </pc:cxnChg>
        <pc:cxnChg chg="add mod">
          <ac:chgData name="Miraj Sinya" userId="a6e95797-5893-4261-9f10-8f81f198df75" providerId="ADAL" clId="{53F80C9B-833D-4693-AFD3-13DDAF0ECA52}" dt="2023-11-14T03:17:59.281" v="1430" actId="1076"/>
          <ac:cxnSpMkLst>
            <pc:docMk/>
            <pc:sldMk cId="2831065698" sldId="650"/>
            <ac:cxnSpMk id="55" creationId="{E8301671-F121-59F3-D261-26F6E05CE10E}"/>
          </ac:cxnSpMkLst>
        </pc:cxnChg>
        <pc:cxnChg chg="add mod">
          <ac:chgData name="Miraj Sinya" userId="a6e95797-5893-4261-9f10-8f81f198df75" providerId="ADAL" clId="{53F80C9B-833D-4693-AFD3-13DDAF0ECA52}" dt="2023-11-15T01:01:13.351" v="7019" actId="571"/>
          <ac:cxnSpMkLst>
            <pc:docMk/>
            <pc:sldMk cId="2831065698" sldId="650"/>
            <ac:cxnSpMk id="69" creationId="{A106A6DF-123F-CA6C-EC6A-02958ECC4AE1}"/>
          </ac:cxnSpMkLst>
        </pc:cxnChg>
      </pc:sldChg>
      <pc:sldChg chg="addSp delSp modSp add mod">
        <pc:chgData name="Miraj Sinya" userId="a6e95797-5893-4261-9f10-8f81f198df75" providerId="ADAL" clId="{53F80C9B-833D-4693-AFD3-13DDAF0ECA52}" dt="2023-11-15T18:49:27.638" v="10193" actId="20577"/>
        <pc:sldMkLst>
          <pc:docMk/>
          <pc:sldMk cId="4103147271" sldId="651"/>
        </pc:sldMkLst>
        <pc:spChg chg="mod">
          <ac:chgData name="Miraj Sinya" userId="a6e95797-5893-4261-9f10-8f81f198df75" providerId="ADAL" clId="{53F80C9B-833D-4693-AFD3-13DDAF0ECA52}" dt="2023-11-14T22:36:31.474" v="5251" actId="20577"/>
          <ac:spMkLst>
            <pc:docMk/>
            <pc:sldMk cId="4103147271" sldId="651"/>
            <ac:spMk id="2" creationId="{64F11D8E-E0AD-C633-5975-BCBEA4CBF86D}"/>
          </ac:spMkLst>
        </pc:spChg>
        <pc:spChg chg="mod">
          <ac:chgData name="Miraj Sinya" userId="a6e95797-5893-4261-9f10-8f81f198df75" providerId="ADAL" clId="{53F80C9B-833D-4693-AFD3-13DDAF0ECA52}" dt="2023-11-15T00:09:06.376" v="6060" actId="1035"/>
          <ac:spMkLst>
            <pc:docMk/>
            <pc:sldMk cId="4103147271" sldId="651"/>
            <ac:spMk id="4" creationId="{5227DD2E-8366-D18D-D909-123438734F48}"/>
          </ac:spMkLst>
        </pc:spChg>
        <pc:spChg chg="add mod">
          <ac:chgData name="Miraj Sinya" userId="a6e95797-5893-4261-9f10-8f81f198df75" providerId="ADAL" clId="{53F80C9B-833D-4693-AFD3-13DDAF0ECA52}" dt="2023-11-15T18:49:27.638" v="10193" actId="20577"/>
          <ac:spMkLst>
            <pc:docMk/>
            <pc:sldMk cId="4103147271" sldId="651"/>
            <ac:spMk id="8" creationId="{6BDCE446-7E09-2718-AC95-D8D7BF356F5B}"/>
          </ac:spMkLst>
        </pc:spChg>
        <pc:spChg chg="mod">
          <ac:chgData name="Miraj Sinya" userId="a6e95797-5893-4261-9f10-8f81f198df75" providerId="ADAL" clId="{53F80C9B-833D-4693-AFD3-13DDAF0ECA52}" dt="2023-11-15T00:09:06.376" v="6060" actId="1035"/>
          <ac:spMkLst>
            <pc:docMk/>
            <pc:sldMk cId="4103147271" sldId="651"/>
            <ac:spMk id="12" creationId="{3CAD1D49-3969-DF9C-2CB0-6BC9D29B5228}"/>
          </ac:spMkLst>
        </pc:spChg>
        <pc:spChg chg="mod">
          <ac:chgData name="Miraj Sinya" userId="a6e95797-5893-4261-9f10-8f81f198df75" providerId="ADAL" clId="{53F80C9B-833D-4693-AFD3-13DDAF0ECA52}" dt="2023-11-14T22:33:36.265" v="5200" actId="14100"/>
          <ac:spMkLst>
            <pc:docMk/>
            <pc:sldMk cId="4103147271" sldId="651"/>
            <ac:spMk id="13" creationId="{8AEF4EC7-8C88-8A01-F3FE-94577D825F42}"/>
          </ac:spMkLst>
        </pc:spChg>
        <pc:spChg chg="add mod">
          <ac:chgData name="Miraj Sinya" userId="a6e95797-5893-4261-9f10-8f81f198df75" providerId="ADAL" clId="{53F80C9B-833D-4693-AFD3-13DDAF0ECA52}" dt="2023-11-15T00:09:06.376" v="6060" actId="1035"/>
          <ac:spMkLst>
            <pc:docMk/>
            <pc:sldMk cId="4103147271" sldId="651"/>
            <ac:spMk id="15" creationId="{56B31BA0-A1C5-E089-F866-328C197D2A40}"/>
          </ac:spMkLst>
        </pc:spChg>
        <pc:spChg chg="add mod">
          <ac:chgData name="Miraj Sinya" userId="a6e95797-5893-4261-9f10-8f81f198df75" providerId="ADAL" clId="{53F80C9B-833D-4693-AFD3-13DDAF0ECA52}" dt="2023-11-15T00:09:06.376" v="6060" actId="1035"/>
          <ac:spMkLst>
            <pc:docMk/>
            <pc:sldMk cId="4103147271" sldId="651"/>
            <ac:spMk id="16" creationId="{4B3DF188-59A0-D229-8A85-424D6B655C55}"/>
          </ac:spMkLst>
        </pc:spChg>
        <pc:spChg chg="add mod">
          <ac:chgData name="Miraj Sinya" userId="a6e95797-5893-4261-9f10-8f81f198df75" providerId="ADAL" clId="{53F80C9B-833D-4693-AFD3-13DDAF0ECA52}" dt="2023-11-15T00:09:06.376" v="6060" actId="1035"/>
          <ac:spMkLst>
            <pc:docMk/>
            <pc:sldMk cId="4103147271" sldId="651"/>
            <ac:spMk id="17" creationId="{445FCCD8-46AB-2B62-6012-A0ABB96968F8}"/>
          </ac:spMkLst>
        </pc:spChg>
        <pc:spChg chg="add mod">
          <ac:chgData name="Miraj Sinya" userId="a6e95797-5893-4261-9f10-8f81f198df75" providerId="ADAL" clId="{53F80C9B-833D-4693-AFD3-13DDAF0ECA52}" dt="2023-11-14T02:39:59.122" v="1291" actId="20577"/>
          <ac:spMkLst>
            <pc:docMk/>
            <pc:sldMk cId="4103147271" sldId="651"/>
            <ac:spMk id="17" creationId="{BE9E68F1-7714-69CE-1D2B-C13C45FB4E92}"/>
          </ac:spMkLst>
        </pc:spChg>
        <pc:spChg chg="mod">
          <ac:chgData name="Miraj Sinya" userId="a6e95797-5893-4261-9f10-8f81f198df75" providerId="ADAL" clId="{53F80C9B-833D-4693-AFD3-13DDAF0ECA52}" dt="2023-11-14T22:33:36.265" v="5200" actId="14100"/>
          <ac:spMkLst>
            <pc:docMk/>
            <pc:sldMk cId="4103147271" sldId="651"/>
            <ac:spMk id="18" creationId="{6AB8B340-A5A1-1C09-EDF4-6505F38A2B53}"/>
          </ac:spMkLst>
        </pc:spChg>
        <pc:spChg chg="mod">
          <ac:chgData name="Miraj Sinya" userId="a6e95797-5893-4261-9f10-8f81f198df75" providerId="ADAL" clId="{53F80C9B-833D-4693-AFD3-13DDAF0ECA52}" dt="2023-11-14T19:28:36.864" v="4342" actId="1076"/>
          <ac:spMkLst>
            <pc:docMk/>
            <pc:sldMk cId="4103147271" sldId="651"/>
            <ac:spMk id="19" creationId="{3B28DD7A-A355-63C6-892C-523F0EEA0BC2}"/>
          </ac:spMkLst>
        </pc:spChg>
        <pc:spChg chg="mod">
          <ac:chgData name="Miraj Sinya" userId="a6e95797-5893-4261-9f10-8f81f198df75" providerId="ADAL" clId="{53F80C9B-833D-4693-AFD3-13DDAF0ECA52}" dt="2023-11-14T22:33:36.265" v="5200" actId="14100"/>
          <ac:spMkLst>
            <pc:docMk/>
            <pc:sldMk cId="4103147271" sldId="651"/>
            <ac:spMk id="20" creationId="{63AB8C03-C767-9C46-E78F-6E1AA710E6F7}"/>
          </ac:spMkLst>
        </pc:spChg>
        <pc:spChg chg="mod">
          <ac:chgData name="Miraj Sinya" userId="a6e95797-5893-4261-9f10-8f81f198df75" providerId="ADAL" clId="{53F80C9B-833D-4693-AFD3-13DDAF0ECA52}" dt="2023-11-14T22:33:36.265" v="5200" actId="14100"/>
          <ac:spMkLst>
            <pc:docMk/>
            <pc:sldMk cId="4103147271" sldId="651"/>
            <ac:spMk id="21" creationId="{0D5ED5B2-28BD-E5B4-3164-D7140228E829}"/>
          </ac:spMkLst>
        </pc:spChg>
        <pc:spChg chg="mod">
          <ac:chgData name="Miraj Sinya" userId="a6e95797-5893-4261-9f10-8f81f198df75" providerId="ADAL" clId="{53F80C9B-833D-4693-AFD3-13DDAF0ECA52}" dt="2023-11-14T02:34:15.852" v="1175" actId="164"/>
          <ac:spMkLst>
            <pc:docMk/>
            <pc:sldMk cId="4103147271" sldId="651"/>
            <ac:spMk id="22" creationId="{3F274097-D17D-6C1B-3DC9-E960A1C919BE}"/>
          </ac:spMkLst>
        </pc:spChg>
        <pc:spChg chg="mod">
          <ac:chgData name="Miraj Sinya" userId="a6e95797-5893-4261-9f10-8f81f198df75" providerId="ADAL" clId="{53F80C9B-833D-4693-AFD3-13DDAF0ECA52}" dt="2023-11-14T02:34:15.852" v="1175" actId="164"/>
          <ac:spMkLst>
            <pc:docMk/>
            <pc:sldMk cId="4103147271" sldId="651"/>
            <ac:spMk id="23" creationId="{67CD657C-960B-6A26-7ED8-0C1EC685931D}"/>
          </ac:spMkLst>
        </pc:spChg>
        <pc:spChg chg="add del mod">
          <ac:chgData name="Miraj Sinya" userId="a6e95797-5893-4261-9f10-8f81f198df75" providerId="ADAL" clId="{53F80C9B-833D-4693-AFD3-13DDAF0ECA52}" dt="2023-11-14T22:32:49.574" v="5193" actId="478"/>
          <ac:spMkLst>
            <pc:docMk/>
            <pc:sldMk cId="4103147271" sldId="651"/>
            <ac:spMk id="25" creationId="{55D1A9B5-102D-33C8-E96B-424CB8521D78}"/>
          </ac:spMkLst>
        </pc:spChg>
        <pc:spChg chg="add del mod">
          <ac:chgData name="Miraj Sinya" userId="a6e95797-5893-4261-9f10-8f81f198df75" providerId="ADAL" clId="{53F80C9B-833D-4693-AFD3-13DDAF0ECA52}" dt="2023-11-14T19:35:55.350" v="4716" actId="478"/>
          <ac:spMkLst>
            <pc:docMk/>
            <pc:sldMk cId="4103147271" sldId="651"/>
            <ac:spMk id="25" creationId="{94312DC6-26B6-EEE9-AA21-30BCE790DB05}"/>
          </ac:spMkLst>
        </pc:spChg>
        <pc:spChg chg="add mod">
          <ac:chgData name="Miraj Sinya" userId="a6e95797-5893-4261-9f10-8f81f198df75" providerId="ADAL" clId="{53F80C9B-833D-4693-AFD3-13DDAF0ECA52}" dt="2023-11-14T22:31:58.579" v="5190" actId="571"/>
          <ac:spMkLst>
            <pc:docMk/>
            <pc:sldMk cId="4103147271" sldId="651"/>
            <ac:spMk id="26" creationId="{43F4AC43-EB4C-B19D-8376-A23F165DECBB}"/>
          </ac:spMkLst>
        </pc:spChg>
        <pc:spChg chg="add del mod">
          <ac:chgData name="Miraj Sinya" userId="a6e95797-5893-4261-9f10-8f81f198df75" providerId="ADAL" clId="{53F80C9B-833D-4693-AFD3-13DDAF0ECA52}" dt="2023-11-14T19:36:21.872" v="4744"/>
          <ac:spMkLst>
            <pc:docMk/>
            <pc:sldMk cId="4103147271" sldId="651"/>
            <ac:spMk id="26" creationId="{5CD60B37-C384-6D65-231C-00F215003D5F}"/>
          </ac:spMkLst>
        </pc:spChg>
        <pc:spChg chg="mod">
          <ac:chgData name="Miraj Sinya" userId="a6e95797-5893-4261-9f10-8f81f198df75" providerId="ADAL" clId="{53F80C9B-833D-4693-AFD3-13DDAF0ECA52}" dt="2023-11-14T22:33:36.265" v="5200" actId="14100"/>
          <ac:spMkLst>
            <pc:docMk/>
            <pc:sldMk cId="4103147271" sldId="651"/>
            <ac:spMk id="27" creationId="{3AE653E7-B3A8-BECB-CF70-A1E1EE470CB9}"/>
          </ac:spMkLst>
        </pc:spChg>
        <pc:spChg chg="mod">
          <ac:chgData name="Miraj Sinya" userId="a6e95797-5893-4261-9f10-8f81f198df75" providerId="ADAL" clId="{53F80C9B-833D-4693-AFD3-13DDAF0ECA52}" dt="2023-11-14T22:33:36.265" v="5200" actId="14100"/>
          <ac:spMkLst>
            <pc:docMk/>
            <pc:sldMk cId="4103147271" sldId="651"/>
            <ac:spMk id="35" creationId="{A87C0D5E-D93E-60AC-26D8-9B3D1CBFE945}"/>
          </ac:spMkLst>
        </pc:spChg>
        <pc:spChg chg="mod">
          <ac:chgData name="Miraj Sinya" userId="a6e95797-5893-4261-9f10-8f81f198df75" providerId="ADAL" clId="{53F80C9B-833D-4693-AFD3-13DDAF0ECA52}" dt="2023-11-14T22:33:36.265" v="5200" actId="14100"/>
          <ac:spMkLst>
            <pc:docMk/>
            <pc:sldMk cId="4103147271" sldId="651"/>
            <ac:spMk id="36" creationId="{95E1DF6E-27A9-9171-A5B0-80FEAAC8C546}"/>
          </ac:spMkLst>
        </pc:spChg>
        <pc:spChg chg="mod">
          <ac:chgData name="Miraj Sinya" userId="a6e95797-5893-4261-9f10-8f81f198df75" providerId="ADAL" clId="{53F80C9B-833D-4693-AFD3-13DDAF0ECA52}" dt="2023-11-14T22:33:36.265" v="5200" actId="14100"/>
          <ac:spMkLst>
            <pc:docMk/>
            <pc:sldMk cId="4103147271" sldId="651"/>
            <ac:spMk id="39" creationId="{333BCCF7-1A1D-5752-BF06-6C0E18C16186}"/>
          </ac:spMkLst>
        </pc:spChg>
        <pc:spChg chg="mod">
          <ac:chgData name="Miraj Sinya" userId="a6e95797-5893-4261-9f10-8f81f198df75" providerId="ADAL" clId="{53F80C9B-833D-4693-AFD3-13DDAF0ECA52}" dt="2023-11-14T22:33:36.265" v="5200" actId="14100"/>
          <ac:spMkLst>
            <pc:docMk/>
            <pc:sldMk cId="4103147271" sldId="651"/>
            <ac:spMk id="40" creationId="{5AD62CF6-A821-79D1-1DAC-72D521C6DDC0}"/>
          </ac:spMkLst>
        </pc:spChg>
        <pc:spChg chg="mod">
          <ac:chgData name="Miraj Sinya" userId="a6e95797-5893-4261-9f10-8f81f198df75" providerId="ADAL" clId="{53F80C9B-833D-4693-AFD3-13DDAF0ECA52}" dt="2023-11-14T22:33:36.265" v="5200" actId="14100"/>
          <ac:spMkLst>
            <pc:docMk/>
            <pc:sldMk cId="4103147271" sldId="651"/>
            <ac:spMk id="43" creationId="{CDEF0D60-AFD0-2727-F843-43843A531B08}"/>
          </ac:spMkLst>
        </pc:spChg>
        <pc:spChg chg="mod">
          <ac:chgData name="Miraj Sinya" userId="a6e95797-5893-4261-9f10-8f81f198df75" providerId="ADAL" clId="{53F80C9B-833D-4693-AFD3-13DDAF0ECA52}" dt="2023-11-14T22:33:36.265" v="5200" actId="14100"/>
          <ac:spMkLst>
            <pc:docMk/>
            <pc:sldMk cId="4103147271" sldId="651"/>
            <ac:spMk id="44" creationId="{AA98B162-16C5-ED31-95FE-AA7C4E26EEC4}"/>
          </ac:spMkLst>
        </pc:spChg>
        <pc:spChg chg="mod">
          <ac:chgData name="Miraj Sinya" userId="a6e95797-5893-4261-9f10-8f81f198df75" providerId="ADAL" clId="{53F80C9B-833D-4693-AFD3-13DDAF0ECA52}" dt="2023-11-14T22:33:36.265" v="5200" actId="14100"/>
          <ac:spMkLst>
            <pc:docMk/>
            <pc:sldMk cId="4103147271" sldId="651"/>
            <ac:spMk id="46" creationId="{9938D6F2-C3AD-31E7-738E-FCF4B4A8A091}"/>
          </ac:spMkLst>
        </pc:spChg>
        <pc:spChg chg="mod">
          <ac:chgData name="Miraj Sinya" userId="a6e95797-5893-4261-9f10-8f81f198df75" providerId="ADAL" clId="{53F80C9B-833D-4693-AFD3-13DDAF0ECA52}" dt="2023-11-14T22:33:36.265" v="5200" actId="14100"/>
          <ac:spMkLst>
            <pc:docMk/>
            <pc:sldMk cId="4103147271" sldId="651"/>
            <ac:spMk id="47" creationId="{9CD8C194-B299-AFFF-7089-3131676399FA}"/>
          </ac:spMkLst>
        </pc:spChg>
        <pc:spChg chg="mod">
          <ac:chgData name="Miraj Sinya" userId="a6e95797-5893-4261-9f10-8f81f198df75" providerId="ADAL" clId="{53F80C9B-833D-4693-AFD3-13DDAF0ECA52}" dt="2023-11-14T22:33:36.265" v="5200" actId="14100"/>
          <ac:spMkLst>
            <pc:docMk/>
            <pc:sldMk cId="4103147271" sldId="651"/>
            <ac:spMk id="62" creationId="{A5BF4539-491E-085D-0600-6A41E80088AB}"/>
          </ac:spMkLst>
        </pc:spChg>
        <pc:spChg chg="mod">
          <ac:chgData name="Miraj Sinya" userId="a6e95797-5893-4261-9f10-8f81f198df75" providerId="ADAL" clId="{53F80C9B-833D-4693-AFD3-13DDAF0ECA52}" dt="2023-11-14T22:33:36.265" v="5200" actId="14100"/>
          <ac:spMkLst>
            <pc:docMk/>
            <pc:sldMk cId="4103147271" sldId="651"/>
            <ac:spMk id="63" creationId="{7909575C-D7C1-3ED7-0638-51A2B6267513}"/>
          </ac:spMkLst>
        </pc:spChg>
        <pc:spChg chg="mod">
          <ac:chgData name="Miraj Sinya" userId="a6e95797-5893-4261-9f10-8f81f198df75" providerId="ADAL" clId="{53F80C9B-833D-4693-AFD3-13DDAF0ECA52}" dt="2023-11-14T22:33:36.265" v="5200" actId="14100"/>
          <ac:spMkLst>
            <pc:docMk/>
            <pc:sldMk cId="4103147271" sldId="651"/>
            <ac:spMk id="66" creationId="{ABEF6333-1ADE-5E82-783F-ABB39E43F2B3}"/>
          </ac:spMkLst>
        </pc:spChg>
        <pc:spChg chg="mod">
          <ac:chgData name="Miraj Sinya" userId="a6e95797-5893-4261-9f10-8f81f198df75" providerId="ADAL" clId="{53F80C9B-833D-4693-AFD3-13DDAF0ECA52}" dt="2023-11-14T22:33:36.265" v="5200" actId="14100"/>
          <ac:spMkLst>
            <pc:docMk/>
            <pc:sldMk cId="4103147271" sldId="651"/>
            <ac:spMk id="67" creationId="{70F452E8-9F35-7DA1-76DA-FB37DEC36BC0}"/>
          </ac:spMkLst>
        </pc:spChg>
        <pc:spChg chg="mod">
          <ac:chgData name="Miraj Sinya" userId="a6e95797-5893-4261-9f10-8f81f198df75" providerId="ADAL" clId="{53F80C9B-833D-4693-AFD3-13DDAF0ECA52}" dt="2023-11-14T22:33:36.265" v="5200" actId="14100"/>
          <ac:spMkLst>
            <pc:docMk/>
            <pc:sldMk cId="4103147271" sldId="651"/>
            <ac:spMk id="70" creationId="{DEBEDECE-B196-6D1C-577B-3046B7903BCA}"/>
          </ac:spMkLst>
        </pc:spChg>
        <pc:spChg chg="mod">
          <ac:chgData name="Miraj Sinya" userId="a6e95797-5893-4261-9f10-8f81f198df75" providerId="ADAL" clId="{53F80C9B-833D-4693-AFD3-13DDAF0ECA52}" dt="2023-11-14T22:33:36.265" v="5200" actId="14100"/>
          <ac:spMkLst>
            <pc:docMk/>
            <pc:sldMk cId="4103147271" sldId="651"/>
            <ac:spMk id="71" creationId="{43B381E8-B107-33AE-AB8A-83AF411491FD}"/>
          </ac:spMkLst>
        </pc:spChg>
        <pc:spChg chg="mod">
          <ac:chgData name="Miraj Sinya" userId="a6e95797-5893-4261-9f10-8f81f198df75" providerId="ADAL" clId="{53F80C9B-833D-4693-AFD3-13DDAF0ECA52}" dt="2023-11-14T22:33:36.265" v="5200" actId="14100"/>
          <ac:spMkLst>
            <pc:docMk/>
            <pc:sldMk cId="4103147271" sldId="651"/>
            <ac:spMk id="79" creationId="{C789C47E-103B-E69B-F517-60771C49A3BF}"/>
          </ac:spMkLst>
        </pc:spChg>
        <pc:spChg chg="mod">
          <ac:chgData name="Miraj Sinya" userId="a6e95797-5893-4261-9f10-8f81f198df75" providerId="ADAL" clId="{53F80C9B-833D-4693-AFD3-13DDAF0ECA52}" dt="2023-11-14T22:33:36.265" v="5200" actId="14100"/>
          <ac:spMkLst>
            <pc:docMk/>
            <pc:sldMk cId="4103147271" sldId="651"/>
            <ac:spMk id="80" creationId="{379439F0-5CE4-AE71-4A16-8F93661F86BE}"/>
          </ac:spMkLst>
        </pc:spChg>
        <pc:spChg chg="mod">
          <ac:chgData name="Miraj Sinya" userId="a6e95797-5893-4261-9f10-8f81f198df75" providerId="ADAL" clId="{53F80C9B-833D-4693-AFD3-13DDAF0ECA52}" dt="2023-11-14T22:33:36.265" v="5200" actId="14100"/>
          <ac:spMkLst>
            <pc:docMk/>
            <pc:sldMk cId="4103147271" sldId="651"/>
            <ac:spMk id="82" creationId="{663D0429-3333-2E98-9396-6E79F8257EFB}"/>
          </ac:spMkLst>
        </pc:spChg>
        <pc:spChg chg="mod">
          <ac:chgData name="Miraj Sinya" userId="a6e95797-5893-4261-9f10-8f81f198df75" providerId="ADAL" clId="{53F80C9B-833D-4693-AFD3-13DDAF0ECA52}" dt="2023-11-14T22:33:36.265" v="5200" actId="14100"/>
          <ac:spMkLst>
            <pc:docMk/>
            <pc:sldMk cId="4103147271" sldId="651"/>
            <ac:spMk id="87" creationId="{0EF22154-67E2-66CE-25D8-254AA35A1A95}"/>
          </ac:spMkLst>
        </pc:spChg>
        <pc:spChg chg="mod">
          <ac:chgData name="Miraj Sinya" userId="a6e95797-5893-4261-9f10-8f81f198df75" providerId="ADAL" clId="{53F80C9B-833D-4693-AFD3-13DDAF0ECA52}" dt="2023-11-14T02:35:39.699" v="1205" actId="1036"/>
          <ac:spMkLst>
            <pc:docMk/>
            <pc:sldMk cId="4103147271" sldId="651"/>
            <ac:spMk id="96" creationId="{5AD27F72-69B8-F7BD-C5CA-9D7656587CA0}"/>
          </ac:spMkLst>
        </pc:spChg>
        <pc:grpChg chg="add mod">
          <ac:chgData name="Miraj Sinya" userId="a6e95797-5893-4261-9f10-8f81f198df75" providerId="ADAL" clId="{53F80C9B-833D-4693-AFD3-13DDAF0ECA52}" dt="2023-11-14T22:33:36.265" v="5200" actId="14100"/>
          <ac:grpSpMkLst>
            <pc:docMk/>
            <pc:sldMk cId="4103147271" sldId="651"/>
            <ac:grpSpMk id="3" creationId="{9582386C-FF1F-71E7-A5D8-CAC6B6363FA2}"/>
          </ac:grpSpMkLst>
        </pc:grpChg>
        <pc:grpChg chg="mod">
          <ac:chgData name="Miraj Sinya" userId="a6e95797-5893-4261-9f10-8f81f198df75" providerId="ADAL" clId="{53F80C9B-833D-4693-AFD3-13DDAF0ECA52}" dt="2023-11-15T00:09:06.376" v="6060" actId="1035"/>
          <ac:grpSpMkLst>
            <pc:docMk/>
            <pc:sldMk cId="4103147271" sldId="651"/>
            <ac:grpSpMk id="5" creationId="{C9DA5E09-6429-D528-067A-13C6C05F5193}"/>
          </ac:grpSpMkLst>
        </pc:grpChg>
        <pc:grpChg chg="mod">
          <ac:chgData name="Miraj Sinya" userId="a6e95797-5893-4261-9f10-8f81f198df75" providerId="ADAL" clId="{53F80C9B-833D-4693-AFD3-13DDAF0ECA52}" dt="2023-11-15T00:09:06.376" v="6060" actId="1035"/>
          <ac:grpSpMkLst>
            <pc:docMk/>
            <pc:sldMk cId="4103147271" sldId="651"/>
            <ac:grpSpMk id="9" creationId="{AE6C7375-6E5E-7F42-E53F-8AEE52266884}"/>
          </ac:grpSpMkLst>
        </pc:grpChg>
        <pc:grpChg chg="add mod">
          <ac:chgData name="Miraj Sinya" userId="a6e95797-5893-4261-9f10-8f81f198df75" providerId="ADAL" clId="{53F80C9B-833D-4693-AFD3-13DDAF0ECA52}" dt="2023-11-15T00:09:06.376" v="6060" actId="1035"/>
          <ac:grpSpMkLst>
            <pc:docMk/>
            <pc:sldMk cId="4103147271" sldId="651"/>
            <ac:grpSpMk id="14" creationId="{66F321C5-DCF1-207C-79F4-27A7A6B57933}"/>
          </ac:grpSpMkLst>
        </pc:grpChg>
        <pc:grpChg chg="mod">
          <ac:chgData name="Miraj Sinya" userId="a6e95797-5893-4261-9f10-8f81f198df75" providerId="ADAL" clId="{53F80C9B-833D-4693-AFD3-13DDAF0ECA52}" dt="2023-11-14T22:33:36.265" v="5200" actId="14100"/>
          <ac:grpSpMkLst>
            <pc:docMk/>
            <pc:sldMk cId="4103147271" sldId="651"/>
            <ac:grpSpMk id="29" creationId="{BA38460B-1AE9-953E-0CAD-9EA5AC1B782D}"/>
          </ac:grpSpMkLst>
        </pc:grpChg>
        <pc:grpChg chg="mod">
          <ac:chgData name="Miraj Sinya" userId="a6e95797-5893-4261-9f10-8f81f198df75" providerId="ADAL" clId="{53F80C9B-833D-4693-AFD3-13DDAF0ECA52}" dt="2023-11-14T22:33:36.265" v="5200" actId="14100"/>
          <ac:grpSpMkLst>
            <pc:docMk/>
            <pc:sldMk cId="4103147271" sldId="651"/>
            <ac:grpSpMk id="34" creationId="{D80C22A8-CA94-BC00-6B3B-146213218B50}"/>
          </ac:grpSpMkLst>
        </pc:grpChg>
        <pc:grpChg chg="mod">
          <ac:chgData name="Miraj Sinya" userId="a6e95797-5893-4261-9f10-8f81f198df75" providerId="ADAL" clId="{53F80C9B-833D-4693-AFD3-13DDAF0ECA52}" dt="2023-11-14T22:33:36.265" v="5200" actId="14100"/>
          <ac:grpSpMkLst>
            <pc:docMk/>
            <pc:sldMk cId="4103147271" sldId="651"/>
            <ac:grpSpMk id="38" creationId="{6626F88F-A99A-512C-18BF-473F1ABB0321}"/>
          </ac:grpSpMkLst>
        </pc:grpChg>
        <pc:grpChg chg="mod">
          <ac:chgData name="Miraj Sinya" userId="a6e95797-5893-4261-9f10-8f81f198df75" providerId="ADAL" clId="{53F80C9B-833D-4693-AFD3-13DDAF0ECA52}" dt="2023-11-14T22:33:36.265" v="5200" actId="14100"/>
          <ac:grpSpMkLst>
            <pc:docMk/>
            <pc:sldMk cId="4103147271" sldId="651"/>
            <ac:grpSpMk id="45" creationId="{F54191AC-7B24-892A-4EAD-362A86CFC211}"/>
          </ac:grpSpMkLst>
        </pc:grpChg>
        <pc:grpChg chg="mod">
          <ac:chgData name="Miraj Sinya" userId="a6e95797-5893-4261-9f10-8f81f198df75" providerId="ADAL" clId="{53F80C9B-833D-4693-AFD3-13DDAF0ECA52}" dt="2023-11-14T22:33:36.265" v="5200" actId="14100"/>
          <ac:grpSpMkLst>
            <pc:docMk/>
            <pc:sldMk cId="4103147271" sldId="651"/>
            <ac:grpSpMk id="61" creationId="{9B089737-921B-C496-9FD6-FF389AA25491}"/>
          </ac:grpSpMkLst>
        </pc:grpChg>
        <pc:grpChg chg="mod">
          <ac:chgData name="Miraj Sinya" userId="a6e95797-5893-4261-9f10-8f81f198df75" providerId="ADAL" clId="{53F80C9B-833D-4693-AFD3-13DDAF0ECA52}" dt="2023-11-14T22:33:36.265" v="5200" actId="14100"/>
          <ac:grpSpMkLst>
            <pc:docMk/>
            <pc:sldMk cId="4103147271" sldId="651"/>
            <ac:grpSpMk id="65" creationId="{A7334C62-6A30-27F3-CDE3-B683B176B78A}"/>
          </ac:grpSpMkLst>
        </pc:grpChg>
        <pc:grpChg chg="mod">
          <ac:chgData name="Miraj Sinya" userId="a6e95797-5893-4261-9f10-8f81f198df75" providerId="ADAL" clId="{53F80C9B-833D-4693-AFD3-13DDAF0ECA52}" dt="2023-11-14T22:33:36.265" v="5200" actId="14100"/>
          <ac:grpSpMkLst>
            <pc:docMk/>
            <pc:sldMk cId="4103147271" sldId="651"/>
            <ac:grpSpMk id="69" creationId="{BDE7173D-BF55-FB7B-0847-CC7AB19593B7}"/>
          </ac:grpSpMkLst>
        </pc:grpChg>
        <pc:grpChg chg="mod">
          <ac:chgData name="Miraj Sinya" userId="a6e95797-5893-4261-9f10-8f81f198df75" providerId="ADAL" clId="{53F80C9B-833D-4693-AFD3-13DDAF0ECA52}" dt="2023-11-14T22:33:36.265" v="5200" actId="14100"/>
          <ac:grpSpMkLst>
            <pc:docMk/>
            <pc:sldMk cId="4103147271" sldId="651"/>
            <ac:grpSpMk id="97" creationId="{D55566E0-B6D3-291E-A7E7-C7ACBEE90938}"/>
          </ac:grpSpMkLst>
        </pc:grpChg>
        <pc:cxnChg chg="add mod">
          <ac:chgData name="Miraj Sinya" userId="a6e95797-5893-4261-9f10-8f81f198df75" providerId="ADAL" clId="{53F80C9B-833D-4693-AFD3-13DDAF0ECA52}" dt="2023-11-15T00:09:06.376" v="6060" actId="1035"/>
          <ac:cxnSpMkLst>
            <pc:docMk/>
            <pc:sldMk cId="4103147271" sldId="651"/>
            <ac:cxnSpMk id="22" creationId="{0A542E17-F61A-BEC5-08B8-A82A66618EA1}"/>
          </ac:cxnSpMkLst>
        </pc:cxnChg>
        <pc:cxnChg chg="add mod">
          <ac:chgData name="Miraj Sinya" userId="a6e95797-5893-4261-9f10-8f81f198df75" providerId="ADAL" clId="{53F80C9B-833D-4693-AFD3-13DDAF0ECA52}" dt="2023-11-15T00:09:06.376" v="6060" actId="1035"/>
          <ac:cxnSpMkLst>
            <pc:docMk/>
            <pc:sldMk cId="4103147271" sldId="651"/>
            <ac:cxnSpMk id="23" creationId="{BEA13302-EC43-9E97-E4A0-64D6A1E06259}"/>
          </ac:cxnSpMkLst>
        </pc:cxnChg>
        <pc:cxnChg chg="mod">
          <ac:chgData name="Miraj Sinya" userId="a6e95797-5893-4261-9f10-8f81f198df75" providerId="ADAL" clId="{53F80C9B-833D-4693-AFD3-13DDAF0ECA52}" dt="2023-11-14T22:33:36.265" v="5200" actId="14100"/>
          <ac:cxnSpMkLst>
            <pc:docMk/>
            <pc:sldMk cId="4103147271" sldId="651"/>
            <ac:cxnSpMk id="24" creationId="{14A2D170-A664-8BC5-FEC9-D9EC96C47530}"/>
          </ac:cxnSpMkLst>
        </pc:cxnChg>
        <pc:cxnChg chg="mod">
          <ac:chgData name="Miraj Sinya" userId="a6e95797-5893-4261-9f10-8f81f198df75" providerId="ADAL" clId="{53F80C9B-833D-4693-AFD3-13DDAF0ECA52}" dt="2023-11-14T02:35:09.020" v="1180" actId="14100"/>
          <ac:cxnSpMkLst>
            <pc:docMk/>
            <pc:sldMk cId="4103147271" sldId="651"/>
            <ac:cxnSpMk id="25" creationId="{6DEDBCF5-1439-CD64-C463-2E69D815C378}"/>
          </ac:cxnSpMkLst>
        </pc:cxnChg>
        <pc:cxnChg chg="mod">
          <ac:chgData name="Miraj Sinya" userId="a6e95797-5893-4261-9f10-8f81f198df75" providerId="ADAL" clId="{53F80C9B-833D-4693-AFD3-13DDAF0ECA52}" dt="2023-11-14T22:33:36.265" v="5200" actId="14100"/>
          <ac:cxnSpMkLst>
            <pc:docMk/>
            <pc:sldMk cId="4103147271" sldId="651"/>
            <ac:cxnSpMk id="32" creationId="{A104217B-82E9-D557-7CB0-6058E4B20FFA}"/>
          </ac:cxnSpMkLst>
        </pc:cxnChg>
        <pc:cxnChg chg="mod">
          <ac:chgData name="Miraj Sinya" userId="a6e95797-5893-4261-9f10-8f81f198df75" providerId="ADAL" clId="{53F80C9B-833D-4693-AFD3-13DDAF0ECA52}" dt="2023-11-14T22:33:36.265" v="5200" actId="14100"/>
          <ac:cxnSpMkLst>
            <pc:docMk/>
            <pc:sldMk cId="4103147271" sldId="651"/>
            <ac:cxnSpMk id="37" creationId="{EA196419-0ED4-5877-80C4-0C6119D35B47}"/>
          </ac:cxnSpMkLst>
        </pc:cxnChg>
        <pc:cxnChg chg="mod">
          <ac:chgData name="Miraj Sinya" userId="a6e95797-5893-4261-9f10-8f81f198df75" providerId="ADAL" clId="{53F80C9B-833D-4693-AFD3-13DDAF0ECA52}" dt="2023-11-14T22:33:36.265" v="5200" actId="14100"/>
          <ac:cxnSpMkLst>
            <pc:docMk/>
            <pc:sldMk cId="4103147271" sldId="651"/>
            <ac:cxnSpMk id="41" creationId="{4E40DFD1-006B-308B-FFBA-FC0C3EA1F149}"/>
          </ac:cxnSpMkLst>
        </pc:cxnChg>
        <pc:cxnChg chg="mod">
          <ac:chgData name="Miraj Sinya" userId="a6e95797-5893-4261-9f10-8f81f198df75" providerId="ADAL" clId="{53F80C9B-833D-4693-AFD3-13DDAF0ECA52}" dt="2023-11-14T22:33:36.265" v="5200" actId="14100"/>
          <ac:cxnSpMkLst>
            <pc:docMk/>
            <pc:sldMk cId="4103147271" sldId="651"/>
            <ac:cxnSpMk id="51" creationId="{B9D74ED2-EE3A-AE5F-86A1-2D17EBF09FA4}"/>
          </ac:cxnSpMkLst>
        </pc:cxnChg>
        <pc:cxnChg chg="mod">
          <ac:chgData name="Miraj Sinya" userId="a6e95797-5893-4261-9f10-8f81f198df75" providerId="ADAL" clId="{53F80C9B-833D-4693-AFD3-13DDAF0ECA52}" dt="2023-11-14T22:33:36.265" v="5200" actId="14100"/>
          <ac:cxnSpMkLst>
            <pc:docMk/>
            <pc:sldMk cId="4103147271" sldId="651"/>
            <ac:cxnSpMk id="52" creationId="{69D6D1DD-5923-71CE-8669-064D8A34099A}"/>
          </ac:cxnSpMkLst>
        </pc:cxnChg>
        <pc:cxnChg chg="mod">
          <ac:chgData name="Miraj Sinya" userId="a6e95797-5893-4261-9f10-8f81f198df75" providerId="ADAL" clId="{53F80C9B-833D-4693-AFD3-13DDAF0ECA52}" dt="2023-11-14T22:33:36.265" v="5200" actId="14100"/>
          <ac:cxnSpMkLst>
            <pc:docMk/>
            <pc:sldMk cId="4103147271" sldId="651"/>
            <ac:cxnSpMk id="64" creationId="{3771A3C5-8A69-A5A0-B12F-AC40A77C2E93}"/>
          </ac:cxnSpMkLst>
        </pc:cxnChg>
        <pc:cxnChg chg="mod">
          <ac:chgData name="Miraj Sinya" userId="a6e95797-5893-4261-9f10-8f81f198df75" providerId="ADAL" clId="{53F80C9B-833D-4693-AFD3-13DDAF0ECA52}" dt="2023-11-14T22:33:36.265" v="5200" actId="14100"/>
          <ac:cxnSpMkLst>
            <pc:docMk/>
            <pc:sldMk cId="4103147271" sldId="651"/>
            <ac:cxnSpMk id="68" creationId="{5F944B85-2668-4B0B-6532-7B45B7E9C47A}"/>
          </ac:cxnSpMkLst>
        </pc:cxnChg>
        <pc:cxnChg chg="mod">
          <ac:chgData name="Miraj Sinya" userId="a6e95797-5893-4261-9f10-8f81f198df75" providerId="ADAL" clId="{53F80C9B-833D-4693-AFD3-13DDAF0ECA52}" dt="2023-11-14T22:33:36.265" v="5200" actId="14100"/>
          <ac:cxnSpMkLst>
            <pc:docMk/>
            <pc:sldMk cId="4103147271" sldId="651"/>
            <ac:cxnSpMk id="75" creationId="{F5A91494-3F4F-6D0F-55AF-64B825FBDBB3}"/>
          </ac:cxnSpMkLst>
        </pc:cxnChg>
        <pc:cxnChg chg="mod">
          <ac:chgData name="Miraj Sinya" userId="a6e95797-5893-4261-9f10-8f81f198df75" providerId="ADAL" clId="{53F80C9B-833D-4693-AFD3-13DDAF0ECA52}" dt="2023-11-14T22:33:36.265" v="5200" actId="14100"/>
          <ac:cxnSpMkLst>
            <pc:docMk/>
            <pc:sldMk cId="4103147271" sldId="651"/>
            <ac:cxnSpMk id="81" creationId="{0C8F65F9-DDCE-93D7-6584-4685D8989EC4}"/>
          </ac:cxnSpMkLst>
        </pc:cxnChg>
      </pc:sldChg>
      <pc:sldChg chg="addSp delSp modSp add del mod ord">
        <pc:chgData name="Miraj Sinya" userId="a6e95797-5893-4261-9f10-8f81f198df75" providerId="ADAL" clId="{53F80C9B-833D-4693-AFD3-13DDAF0ECA52}" dt="2023-11-15T00:28:17.331" v="6290" actId="47"/>
        <pc:sldMkLst>
          <pc:docMk/>
          <pc:sldMk cId="157838592" sldId="652"/>
        </pc:sldMkLst>
        <pc:spChg chg="mod">
          <ac:chgData name="Miraj Sinya" userId="a6e95797-5893-4261-9f10-8f81f198df75" providerId="ADAL" clId="{53F80C9B-833D-4693-AFD3-13DDAF0ECA52}" dt="2023-11-14T05:53:50.611" v="3945" actId="1076"/>
          <ac:spMkLst>
            <pc:docMk/>
            <pc:sldMk cId="157838592" sldId="652"/>
            <ac:spMk id="3" creationId="{79D9E8DC-CF81-A5EF-E313-3D868DA7003D}"/>
          </ac:spMkLst>
        </pc:spChg>
        <pc:spChg chg="mod topLvl">
          <ac:chgData name="Miraj Sinya" userId="a6e95797-5893-4261-9f10-8f81f198df75" providerId="ADAL" clId="{53F80C9B-833D-4693-AFD3-13DDAF0ECA52}" dt="2023-11-14T05:53:50.611" v="3945" actId="1076"/>
          <ac:spMkLst>
            <pc:docMk/>
            <pc:sldMk cId="157838592" sldId="652"/>
            <ac:spMk id="4" creationId="{4E81EA7E-0D3B-DA43-96A6-A3D2733F1486}"/>
          </ac:spMkLst>
        </pc:spChg>
        <pc:spChg chg="mod">
          <ac:chgData name="Miraj Sinya" userId="a6e95797-5893-4261-9f10-8f81f198df75" providerId="ADAL" clId="{53F80C9B-833D-4693-AFD3-13DDAF0ECA52}" dt="2023-11-14T05:53:50.611" v="3945" actId="1076"/>
          <ac:spMkLst>
            <pc:docMk/>
            <pc:sldMk cId="157838592" sldId="652"/>
            <ac:spMk id="5" creationId="{48F67AB6-BC7A-7909-6398-5CA565F83E92}"/>
          </ac:spMkLst>
        </pc:spChg>
        <pc:spChg chg="add mod">
          <ac:chgData name="Miraj Sinya" userId="a6e95797-5893-4261-9f10-8f81f198df75" providerId="ADAL" clId="{53F80C9B-833D-4693-AFD3-13DDAF0ECA52}" dt="2023-11-14T05:53:50.611" v="3945" actId="1076"/>
          <ac:spMkLst>
            <pc:docMk/>
            <pc:sldMk cId="157838592" sldId="652"/>
            <ac:spMk id="6" creationId="{5DD9868A-1619-0FBD-9D35-10FC677FFAD6}"/>
          </ac:spMkLst>
        </pc:spChg>
        <pc:spChg chg="mod">
          <ac:chgData name="Miraj Sinya" userId="a6e95797-5893-4261-9f10-8f81f198df75" providerId="ADAL" clId="{53F80C9B-833D-4693-AFD3-13DDAF0ECA52}" dt="2023-11-14T05:53:50.611" v="3945" actId="1076"/>
          <ac:spMkLst>
            <pc:docMk/>
            <pc:sldMk cId="157838592" sldId="652"/>
            <ac:spMk id="7" creationId="{89C6BB75-B469-C49C-215F-5956850980A4}"/>
          </ac:spMkLst>
        </pc:spChg>
        <pc:spChg chg="mod">
          <ac:chgData name="Miraj Sinya" userId="a6e95797-5893-4261-9f10-8f81f198df75" providerId="ADAL" clId="{53F80C9B-833D-4693-AFD3-13DDAF0ECA52}" dt="2023-11-14T05:53:50.611" v="3945" actId="1076"/>
          <ac:spMkLst>
            <pc:docMk/>
            <pc:sldMk cId="157838592" sldId="652"/>
            <ac:spMk id="8" creationId="{75E6F3C1-326E-C517-8509-DEE367ABC07E}"/>
          </ac:spMkLst>
        </pc:spChg>
        <pc:spChg chg="mod">
          <ac:chgData name="Miraj Sinya" userId="a6e95797-5893-4261-9f10-8f81f198df75" providerId="ADAL" clId="{53F80C9B-833D-4693-AFD3-13DDAF0ECA52}" dt="2023-11-14T05:53:50.611" v="3945" actId="1076"/>
          <ac:spMkLst>
            <pc:docMk/>
            <pc:sldMk cId="157838592" sldId="652"/>
            <ac:spMk id="10" creationId="{1B0B2C79-4566-8912-41B2-CA61BC2CE245}"/>
          </ac:spMkLst>
        </pc:spChg>
        <pc:spChg chg="add mod ord">
          <ac:chgData name="Miraj Sinya" userId="a6e95797-5893-4261-9f10-8f81f198df75" providerId="ADAL" clId="{53F80C9B-833D-4693-AFD3-13DDAF0ECA52}" dt="2023-11-14T05:53:50.611" v="3945" actId="1076"/>
          <ac:spMkLst>
            <pc:docMk/>
            <pc:sldMk cId="157838592" sldId="652"/>
            <ac:spMk id="11" creationId="{76F3A47A-C5CE-095D-3973-06498931BBC5}"/>
          </ac:spMkLst>
        </pc:spChg>
        <pc:spChg chg="add mod">
          <ac:chgData name="Miraj Sinya" userId="a6e95797-5893-4261-9f10-8f81f198df75" providerId="ADAL" clId="{53F80C9B-833D-4693-AFD3-13DDAF0ECA52}" dt="2023-11-14T05:53:50.611" v="3945" actId="1076"/>
          <ac:spMkLst>
            <pc:docMk/>
            <pc:sldMk cId="157838592" sldId="652"/>
            <ac:spMk id="13" creationId="{03E24D44-AB98-09E7-6E5A-8BE56A32907E}"/>
          </ac:spMkLst>
        </pc:spChg>
        <pc:spChg chg="add del mod topLvl">
          <ac:chgData name="Miraj Sinya" userId="a6e95797-5893-4261-9f10-8f81f198df75" providerId="ADAL" clId="{53F80C9B-833D-4693-AFD3-13DDAF0ECA52}" dt="2023-11-14T05:53:50.611" v="3945" actId="1076"/>
          <ac:spMkLst>
            <pc:docMk/>
            <pc:sldMk cId="157838592" sldId="652"/>
            <ac:spMk id="14" creationId="{AD9F55AA-EEAA-1F03-F814-97CD137D98C1}"/>
          </ac:spMkLst>
        </pc:spChg>
        <pc:spChg chg="del">
          <ac:chgData name="Miraj Sinya" userId="a6e95797-5893-4261-9f10-8f81f198df75" providerId="ADAL" clId="{53F80C9B-833D-4693-AFD3-13DDAF0ECA52}" dt="2023-11-14T04:34:23.398" v="1998" actId="478"/>
          <ac:spMkLst>
            <pc:docMk/>
            <pc:sldMk cId="157838592" sldId="652"/>
            <ac:spMk id="15" creationId="{216D134F-92BB-5FF0-F3D2-204245969AA9}"/>
          </ac:spMkLst>
        </pc:spChg>
        <pc:spChg chg="add del mod">
          <ac:chgData name="Miraj Sinya" userId="a6e95797-5893-4261-9f10-8f81f198df75" providerId="ADAL" clId="{53F80C9B-833D-4693-AFD3-13DDAF0ECA52}" dt="2023-11-14T04:34:34.769" v="2004" actId="478"/>
          <ac:spMkLst>
            <pc:docMk/>
            <pc:sldMk cId="157838592" sldId="652"/>
            <ac:spMk id="16" creationId="{62DAA095-2CDE-C97C-97CD-43A9F88B00C5}"/>
          </ac:spMkLst>
        </pc:spChg>
        <pc:spChg chg="mod">
          <ac:chgData name="Miraj Sinya" userId="a6e95797-5893-4261-9f10-8f81f198df75" providerId="ADAL" clId="{53F80C9B-833D-4693-AFD3-13DDAF0ECA52}" dt="2023-11-14T05:53:50.611" v="3945" actId="1076"/>
          <ac:spMkLst>
            <pc:docMk/>
            <pc:sldMk cId="157838592" sldId="652"/>
            <ac:spMk id="18" creationId="{F670EED7-228D-9758-7E97-5B9663AB2BDA}"/>
          </ac:spMkLst>
        </pc:spChg>
        <pc:spChg chg="del">
          <ac:chgData name="Miraj Sinya" userId="a6e95797-5893-4261-9f10-8f81f198df75" providerId="ADAL" clId="{53F80C9B-833D-4693-AFD3-13DDAF0ECA52}" dt="2023-11-14T04:36:28.319" v="2035" actId="478"/>
          <ac:spMkLst>
            <pc:docMk/>
            <pc:sldMk cId="157838592" sldId="652"/>
            <ac:spMk id="19" creationId="{6BA87F8D-C006-DD02-FEEF-183C0997097E}"/>
          </ac:spMkLst>
        </pc:spChg>
        <pc:spChg chg="mod">
          <ac:chgData name="Miraj Sinya" userId="a6e95797-5893-4261-9f10-8f81f198df75" providerId="ADAL" clId="{53F80C9B-833D-4693-AFD3-13DDAF0ECA52}" dt="2023-11-14T05:53:50.611" v="3945" actId="1076"/>
          <ac:spMkLst>
            <pc:docMk/>
            <pc:sldMk cId="157838592" sldId="652"/>
            <ac:spMk id="20" creationId="{173F5E13-D000-A003-C6EC-79FA496602EB}"/>
          </ac:spMkLst>
        </pc:spChg>
        <pc:spChg chg="add mod">
          <ac:chgData name="Miraj Sinya" userId="a6e95797-5893-4261-9f10-8f81f198df75" providerId="ADAL" clId="{53F80C9B-833D-4693-AFD3-13DDAF0ECA52}" dt="2023-11-14T05:53:50.611" v="3945" actId="1076"/>
          <ac:spMkLst>
            <pc:docMk/>
            <pc:sldMk cId="157838592" sldId="652"/>
            <ac:spMk id="21" creationId="{A8416A47-72B0-1855-EBAD-034626C7AE3A}"/>
          </ac:spMkLst>
        </pc:spChg>
        <pc:spChg chg="add del mod">
          <ac:chgData name="Miraj Sinya" userId="a6e95797-5893-4261-9f10-8f81f198df75" providerId="ADAL" clId="{53F80C9B-833D-4693-AFD3-13DDAF0ECA52}" dt="2023-11-14T04:50:49.886" v="2448" actId="478"/>
          <ac:spMkLst>
            <pc:docMk/>
            <pc:sldMk cId="157838592" sldId="652"/>
            <ac:spMk id="22" creationId="{5EE6AF58-E1F1-4C56-3654-E1DD576FA890}"/>
          </ac:spMkLst>
        </pc:spChg>
        <pc:spChg chg="add mod">
          <ac:chgData name="Miraj Sinya" userId="a6e95797-5893-4261-9f10-8f81f198df75" providerId="ADAL" clId="{53F80C9B-833D-4693-AFD3-13DDAF0ECA52}" dt="2023-11-14T05:53:50.611" v="3945" actId="1076"/>
          <ac:spMkLst>
            <pc:docMk/>
            <pc:sldMk cId="157838592" sldId="652"/>
            <ac:spMk id="23" creationId="{9DDB345B-E4B2-DB36-B284-D58390FD44D4}"/>
          </ac:spMkLst>
        </pc:spChg>
        <pc:spChg chg="add mod">
          <ac:chgData name="Miraj Sinya" userId="a6e95797-5893-4261-9f10-8f81f198df75" providerId="ADAL" clId="{53F80C9B-833D-4693-AFD3-13DDAF0ECA52}" dt="2023-11-14T05:53:50.611" v="3945" actId="1076"/>
          <ac:spMkLst>
            <pc:docMk/>
            <pc:sldMk cId="157838592" sldId="652"/>
            <ac:spMk id="24" creationId="{7B837795-356A-997B-4B4D-B78AD22CB06A}"/>
          </ac:spMkLst>
        </pc:spChg>
        <pc:spChg chg="add del mod">
          <ac:chgData name="Miraj Sinya" userId="a6e95797-5893-4261-9f10-8f81f198df75" providerId="ADAL" clId="{53F80C9B-833D-4693-AFD3-13DDAF0ECA52}" dt="2023-11-14T04:48:19.352" v="2420" actId="478"/>
          <ac:spMkLst>
            <pc:docMk/>
            <pc:sldMk cId="157838592" sldId="652"/>
            <ac:spMk id="25" creationId="{BF7E4F2C-C2AD-170E-566E-76A78D147F35}"/>
          </ac:spMkLst>
        </pc:spChg>
        <pc:spChg chg="add mod">
          <ac:chgData name="Miraj Sinya" userId="a6e95797-5893-4261-9f10-8f81f198df75" providerId="ADAL" clId="{53F80C9B-833D-4693-AFD3-13DDAF0ECA52}" dt="2023-11-14T05:53:50.611" v="3945" actId="1076"/>
          <ac:spMkLst>
            <pc:docMk/>
            <pc:sldMk cId="157838592" sldId="652"/>
            <ac:spMk id="26" creationId="{F1552BBA-DB8E-5DC2-CB65-645CFD5ABD21}"/>
          </ac:spMkLst>
        </pc:spChg>
        <pc:spChg chg="add mod">
          <ac:chgData name="Miraj Sinya" userId="a6e95797-5893-4261-9f10-8f81f198df75" providerId="ADAL" clId="{53F80C9B-833D-4693-AFD3-13DDAF0ECA52}" dt="2023-11-14T05:54:01.385" v="3948" actId="20577"/>
          <ac:spMkLst>
            <pc:docMk/>
            <pc:sldMk cId="157838592" sldId="652"/>
            <ac:spMk id="28" creationId="{B8C5D33E-1C4D-6F21-BD4A-7BFF9984295F}"/>
          </ac:spMkLst>
        </pc:spChg>
        <pc:grpChg chg="mod">
          <ac:chgData name="Miraj Sinya" userId="a6e95797-5893-4261-9f10-8f81f198df75" providerId="ADAL" clId="{53F80C9B-833D-4693-AFD3-13DDAF0ECA52}" dt="2023-11-14T05:53:50.611" v="3945" actId="1076"/>
          <ac:grpSpMkLst>
            <pc:docMk/>
            <pc:sldMk cId="157838592" sldId="652"/>
            <ac:grpSpMk id="12" creationId="{7BD8960C-3D22-1F9D-25C0-24602BDA6B70}"/>
          </ac:grpSpMkLst>
        </pc:grpChg>
        <pc:grpChg chg="add del mod">
          <ac:chgData name="Miraj Sinya" userId="a6e95797-5893-4261-9f10-8f81f198df75" providerId="ADAL" clId="{53F80C9B-833D-4693-AFD3-13DDAF0ECA52}" dt="2023-11-14T05:53:50.611" v="3945" actId="1076"/>
          <ac:grpSpMkLst>
            <pc:docMk/>
            <pc:sldMk cId="157838592" sldId="652"/>
            <ac:grpSpMk id="17" creationId="{0FC28117-8D13-0331-38A2-0ADC08546ACA}"/>
          </ac:grpSpMkLst>
        </pc:grpChg>
        <pc:grpChg chg="add mod">
          <ac:chgData name="Miraj Sinya" userId="a6e95797-5893-4261-9f10-8f81f198df75" providerId="ADAL" clId="{53F80C9B-833D-4693-AFD3-13DDAF0ECA52}" dt="2023-11-14T05:53:50.611" v="3945" actId="1076"/>
          <ac:grpSpMkLst>
            <pc:docMk/>
            <pc:sldMk cId="157838592" sldId="652"/>
            <ac:grpSpMk id="27" creationId="{2C273FAE-32FE-F8B1-7CA0-D8B9326E8290}"/>
          </ac:grpSpMkLst>
        </pc:grpChg>
        <pc:picChg chg="mod">
          <ac:chgData name="Miraj Sinya" userId="a6e95797-5893-4261-9f10-8f81f198df75" providerId="ADAL" clId="{53F80C9B-833D-4693-AFD3-13DDAF0ECA52}" dt="2023-11-14T05:53:50.611" v="3945" actId="1076"/>
          <ac:picMkLst>
            <pc:docMk/>
            <pc:sldMk cId="157838592" sldId="652"/>
            <ac:picMk id="9" creationId="{64316385-4C0E-3B8C-62C8-8ED8E187D0A4}"/>
          </ac:picMkLst>
        </pc:picChg>
        <pc:picChg chg="mod">
          <ac:chgData name="Miraj Sinya" userId="a6e95797-5893-4261-9f10-8f81f198df75" providerId="ADAL" clId="{53F80C9B-833D-4693-AFD3-13DDAF0ECA52}" dt="2023-11-14T05:53:50.611" v="3945" actId="1076"/>
          <ac:picMkLst>
            <pc:docMk/>
            <pc:sldMk cId="157838592" sldId="652"/>
            <ac:picMk id="1026" creationId="{D9407316-218E-17AC-6BCA-7A510A263D0E}"/>
          </ac:picMkLst>
        </pc:picChg>
      </pc:sldChg>
      <pc:sldChg chg="addSp modSp add del mod">
        <pc:chgData name="Miraj Sinya" userId="a6e95797-5893-4261-9f10-8f81f198df75" providerId="ADAL" clId="{53F80C9B-833D-4693-AFD3-13DDAF0ECA52}" dt="2023-11-14T03:21:28.197" v="1503" actId="47"/>
        <pc:sldMkLst>
          <pc:docMk/>
          <pc:sldMk cId="3036996349" sldId="652"/>
        </pc:sldMkLst>
        <pc:spChg chg="add mod">
          <ac:chgData name="Miraj Sinya" userId="a6e95797-5893-4261-9f10-8f81f198df75" providerId="ADAL" clId="{53F80C9B-833D-4693-AFD3-13DDAF0ECA52}" dt="2023-11-14T03:17:02.991" v="1429" actId="1076"/>
          <ac:spMkLst>
            <pc:docMk/>
            <pc:sldMk cId="3036996349" sldId="652"/>
            <ac:spMk id="22" creationId="{895D9B20-9C94-0CBB-48B7-9B4B7BC9F415}"/>
          </ac:spMkLst>
        </pc:spChg>
        <pc:spChg chg="mod">
          <ac:chgData name="Miraj Sinya" userId="a6e95797-5893-4261-9f10-8f81f198df75" providerId="ADAL" clId="{53F80C9B-833D-4693-AFD3-13DDAF0ECA52}" dt="2023-11-14T03:15:30.468" v="1394" actId="20577"/>
          <ac:spMkLst>
            <pc:docMk/>
            <pc:sldMk cId="3036996349" sldId="652"/>
            <ac:spMk id="52" creationId="{69A5CE4A-6D46-010E-BF0F-ADE10F73DACF}"/>
          </ac:spMkLst>
        </pc:spChg>
        <pc:cxnChg chg="add mod">
          <ac:chgData name="Miraj Sinya" userId="a6e95797-5893-4261-9f10-8f81f198df75" providerId="ADAL" clId="{53F80C9B-833D-4693-AFD3-13DDAF0ECA52}" dt="2023-11-14T03:15:46.234" v="1395" actId="14100"/>
          <ac:cxnSpMkLst>
            <pc:docMk/>
            <pc:sldMk cId="3036996349" sldId="652"/>
            <ac:cxnSpMk id="13" creationId="{C5B9F12E-1173-927A-C7EE-81CDE03EB2C3}"/>
          </ac:cxnSpMkLst>
        </pc:cxnChg>
      </pc:sldChg>
      <pc:sldChg chg="addSp delSp modSp add del mod ord">
        <pc:chgData name="Miraj Sinya" userId="a6e95797-5893-4261-9f10-8f81f198df75" providerId="ADAL" clId="{53F80C9B-833D-4693-AFD3-13DDAF0ECA52}" dt="2023-11-15T00:28:13.309" v="6289" actId="47"/>
        <pc:sldMkLst>
          <pc:docMk/>
          <pc:sldMk cId="30365778" sldId="653"/>
        </pc:sldMkLst>
        <pc:spChg chg="mod">
          <ac:chgData name="Miraj Sinya" userId="a6e95797-5893-4261-9f10-8f81f198df75" providerId="ADAL" clId="{53F80C9B-833D-4693-AFD3-13DDAF0ECA52}" dt="2023-11-14T05:54:19.445" v="3952" actId="1076"/>
          <ac:spMkLst>
            <pc:docMk/>
            <pc:sldMk cId="30365778" sldId="653"/>
            <ac:spMk id="3" creationId="{79D9E8DC-CF81-A5EF-E313-3D868DA7003D}"/>
          </ac:spMkLst>
        </pc:spChg>
        <pc:spChg chg="mod">
          <ac:chgData name="Miraj Sinya" userId="a6e95797-5893-4261-9f10-8f81f198df75" providerId="ADAL" clId="{53F80C9B-833D-4693-AFD3-13DDAF0ECA52}" dt="2023-11-14T05:54:19.445" v="3952" actId="1076"/>
          <ac:spMkLst>
            <pc:docMk/>
            <pc:sldMk cId="30365778" sldId="653"/>
            <ac:spMk id="4" creationId="{4E81EA7E-0D3B-DA43-96A6-A3D2733F1486}"/>
          </ac:spMkLst>
        </pc:spChg>
        <pc:spChg chg="mod">
          <ac:chgData name="Miraj Sinya" userId="a6e95797-5893-4261-9f10-8f81f198df75" providerId="ADAL" clId="{53F80C9B-833D-4693-AFD3-13DDAF0ECA52}" dt="2023-11-14T05:54:19.445" v="3952" actId="1076"/>
          <ac:spMkLst>
            <pc:docMk/>
            <pc:sldMk cId="30365778" sldId="653"/>
            <ac:spMk id="5" creationId="{48F67AB6-BC7A-7909-6398-5CA565F83E92}"/>
          </ac:spMkLst>
        </pc:spChg>
        <pc:spChg chg="del">
          <ac:chgData name="Miraj Sinya" userId="a6e95797-5893-4261-9f10-8f81f198df75" providerId="ADAL" clId="{53F80C9B-833D-4693-AFD3-13DDAF0ECA52}" dt="2023-11-14T04:55:14.919" v="2565" actId="478"/>
          <ac:spMkLst>
            <pc:docMk/>
            <pc:sldMk cId="30365778" sldId="653"/>
            <ac:spMk id="6" creationId="{5DD9868A-1619-0FBD-9D35-10FC677FFAD6}"/>
          </ac:spMkLst>
        </pc:spChg>
        <pc:spChg chg="add mod">
          <ac:chgData name="Miraj Sinya" userId="a6e95797-5893-4261-9f10-8f81f198df75" providerId="ADAL" clId="{53F80C9B-833D-4693-AFD3-13DDAF0ECA52}" dt="2023-11-14T19:25:11.539" v="4276" actId="14100"/>
          <ac:spMkLst>
            <pc:docMk/>
            <pc:sldMk cId="30365778" sldId="653"/>
            <ac:spMk id="6" creationId="{8516F4C6-188A-E777-439A-5D263C96F56B}"/>
          </ac:spMkLst>
        </pc:spChg>
        <pc:spChg chg="mod">
          <ac:chgData name="Miraj Sinya" userId="a6e95797-5893-4261-9f10-8f81f198df75" providerId="ADAL" clId="{53F80C9B-833D-4693-AFD3-13DDAF0ECA52}" dt="2023-11-14T05:54:19.445" v="3952" actId="1076"/>
          <ac:spMkLst>
            <pc:docMk/>
            <pc:sldMk cId="30365778" sldId="653"/>
            <ac:spMk id="7" creationId="{89C6BB75-B469-C49C-215F-5956850980A4}"/>
          </ac:spMkLst>
        </pc:spChg>
        <pc:spChg chg="mod">
          <ac:chgData name="Miraj Sinya" userId="a6e95797-5893-4261-9f10-8f81f198df75" providerId="ADAL" clId="{53F80C9B-833D-4693-AFD3-13DDAF0ECA52}" dt="2023-11-14T05:54:19.445" v="3952" actId="1076"/>
          <ac:spMkLst>
            <pc:docMk/>
            <pc:sldMk cId="30365778" sldId="653"/>
            <ac:spMk id="8" creationId="{75E6F3C1-326E-C517-8509-DEE367ABC07E}"/>
          </ac:spMkLst>
        </pc:spChg>
        <pc:spChg chg="mod">
          <ac:chgData name="Miraj Sinya" userId="a6e95797-5893-4261-9f10-8f81f198df75" providerId="ADAL" clId="{53F80C9B-833D-4693-AFD3-13DDAF0ECA52}" dt="2023-11-14T05:54:19.445" v="3952" actId="1076"/>
          <ac:spMkLst>
            <pc:docMk/>
            <pc:sldMk cId="30365778" sldId="653"/>
            <ac:spMk id="10" creationId="{1B0B2C79-4566-8912-41B2-CA61BC2CE245}"/>
          </ac:spMkLst>
        </pc:spChg>
        <pc:spChg chg="mod">
          <ac:chgData name="Miraj Sinya" userId="a6e95797-5893-4261-9f10-8f81f198df75" providerId="ADAL" clId="{53F80C9B-833D-4693-AFD3-13DDAF0ECA52}" dt="2023-11-14T05:54:19.445" v="3952" actId="1076"/>
          <ac:spMkLst>
            <pc:docMk/>
            <pc:sldMk cId="30365778" sldId="653"/>
            <ac:spMk id="11" creationId="{76F3A47A-C5CE-095D-3973-06498931BBC5}"/>
          </ac:spMkLst>
        </pc:spChg>
        <pc:spChg chg="mod">
          <ac:chgData name="Miraj Sinya" userId="a6e95797-5893-4261-9f10-8f81f198df75" providerId="ADAL" clId="{53F80C9B-833D-4693-AFD3-13DDAF0ECA52}" dt="2023-11-14T05:54:19.445" v="3952" actId="1076"/>
          <ac:spMkLst>
            <pc:docMk/>
            <pc:sldMk cId="30365778" sldId="653"/>
            <ac:spMk id="13" creationId="{03E24D44-AB98-09E7-6E5A-8BE56A32907E}"/>
          </ac:spMkLst>
        </pc:spChg>
        <pc:spChg chg="del">
          <ac:chgData name="Miraj Sinya" userId="a6e95797-5893-4261-9f10-8f81f198df75" providerId="ADAL" clId="{53F80C9B-833D-4693-AFD3-13DDAF0ECA52}" dt="2023-11-14T04:54:30.528" v="2556" actId="478"/>
          <ac:spMkLst>
            <pc:docMk/>
            <pc:sldMk cId="30365778" sldId="653"/>
            <ac:spMk id="14" creationId="{AD9F55AA-EEAA-1F03-F814-97CD137D98C1}"/>
          </ac:spMkLst>
        </pc:spChg>
        <pc:spChg chg="add mod">
          <ac:chgData name="Miraj Sinya" userId="a6e95797-5893-4261-9f10-8f81f198df75" providerId="ADAL" clId="{53F80C9B-833D-4693-AFD3-13DDAF0ECA52}" dt="2023-11-14T19:26:02.580" v="4324" actId="20577"/>
          <ac:spMkLst>
            <pc:docMk/>
            <pc:sldMk cId="30365778" sldId="653"/>
            <ac:spMk id="14" creationId="{D6B67CE9-B084-8DDF-0240-C21CAD7E5FE6}"/>
          </ac:spMkLst>
        </pc:spChg>
        <pc:spChg chg="mod topLvl">
          <ac:chgData name="Miraj Sinya" userId="a6e95797-5893-4261-9f10-8f81f198df75" providerId="ADAL" clId="{53F80C9B-833D-4693-AFD3-13DDAF0ECA52}" dt="2023-11-14T05:54:19.445" v="3952" actId="1076"/>
          <ac:spMkLst>
            <pc:docMk/>
            <pc:sldMk cId="30365778" sldId="653"/>
            <ac:spMk id="16" creationId="{F7343CAE-3DE4-4AEC-DDD8-7B4321BFEEDD}"/>
          </ac:spMkLst>
        </pc:spChg>
        <pc:spChg chg="mod">
          <ac:chgData name="Miraj Sinya" userId="a6e95797-5893-4261-9f10-8f81f198df75" providerId="ADAL" clId="{53F80C9B-833D-4693-AFD3-13DDAF0ECA52}" dt="2023-11-14T05:54:19.445" v="3952" actId="1076"/>
          <ac:spMkLst>
            <pc:docMk/>
            <pc:sldMk cId="30365778" sldId="653"/>
            <ac:spMk id="18" creationId="{F670EED7-228D-9758-7E97-5B9663AB2BDA}"/>
          </ac:spMkLst>
        </pc:spChg>
        <pc:spChg chg="mod">
          <ac:chgData name="Miraj Sinya" userId="a6e95797-5893-4261-9f10-8f81f198df75" providerId="ADAL" clId="{53F80C9B-833D-4693-AFD3-13DDAF0ECA52}" dt="2023-11-14T05:54:19.445" v="3952" actId="1076"/>
          <ac:spMkLst>
            <pc:docMk/>
            <pc:sldMk cId="30365778" sldId="653"/>
            <ac:spMk id="20" creationId="{173F5E13-D000-A003-C6EC-79FA496602EB}"/>
          </ac:spMkLst>
        </pc:spChg>
        <pc:spChg chg="mod">
          <ac:chgData name="Miraj Sinya" userId="a6e95797-5893-4261-9f10-8f81f198df75" providerId="ADAL" clId="{53F80C9B-833D-4693-AFD3-13DDAF0ECA52}" dt="2023-11-14T05:54:19.445" v="3952" actId="1076"/>
          <ac:spMkLst>
            <pc:docMk/>
            <pc:sldMk cId="30365778" sldId="653"/>
            <ac:spMk id="21" creationId="{A8416A47-72B0-1855-EBAD-034626C7AE3A}"/>
          </ac:spMkLst>
        </pc:spChg>
        <pc:spChg chg="mod">
          <ac:chgData name="Miraj Sinya" userId="a6e95797-5893-4261-9f10-8f81f198df75" providerId="ADAL" clId="{53F80C9B-833D-4693-AFD3-13DDAF0ECA52}" dt="2023-11-14T05:54:19.445" v="3952" actId="1076"/>
          <ac:spMkLst>
            <pc:docMk/>
            <pc:sldMk cId="30365778" sldId="653"/>
            <ac:spMk id="23" creationId="{9DDB345B-E4B2-DB36-B284-D58390FD44D4}"/>
          </ac:spMkLst>
        </pc:spChg>
        <pc:spChg chg="mod">
          <ac:chgData name="Miraj Sinya" userId="a6e95797-5893-4261-9f10-8f81f198df75" providerId="ADAL" clId="{53F80C9B-833D-4693-AFD3-13DDAF0ECA52}" dt="2023-11-14T05:54:19.445" v="3952" actId="1076"/>
          <ac:spMkLst>
            <pc:docMk/>
            <pc:sldMk cId="30365778" sldId="653"/>
            <ac:spMk id="24" creationId="{7B837795-356A-997B-4B4D-B78AD22CB06A}"/>
          </ac:spMkLst>
        </pc:spChg>
        <pc:spChg chg="mod">
          <ac:chgData name="Miraj Sinya" userId="a6e95797-5893-4261-9f10-8f81f198df75" providerId="ADAL" clId="{53F80C9B-833D-4693-AFD3-13DDAF0ECA52}" dt="2023-11-14T05:54:19.445" v="3952" actId="1076"/>
          <ac:spMkLst>
            <pc:docMk/>
            <pc:sldMk cId="30365778" sldId="653"/>
            <ac:spMk id="26" creationId="{F1552BBA-DB8E-5DC2-CB65-645CFD5ABD21}"/>
          </ac:spMkLst>
        </pc:spChg>
        <pc:spChg chg="mod">
          <ac:chgData name="Miraj Sinya" userId="a6e95797-5893-4261-9f10-8f81f198df75" providerId="ADAL" clId="{53F80C9B-833D-4693-AFD3-13DDAF0ECA52}" dt="2023-11-14T05:54:19.445" v="3952" actId="1076"/>
          <ac:spMkLst>
            <pc:docMk/>
            <pc:sldMk cId="30365778" sldId="653"/>
            <ac:spMk id="29" creationId="{63318F1A-35E2-4084-D56C-B8143116C3C2}"/>
          </ac:spMkLst>
        </pc:spChg>
        <pc:spChg chg="add mod">
          <ac:chgData name="Miraj Sinya" userId="a6e95797-5893-4261-9f10-8f81f198df75" providerId="ADAL" clId="{53F80C9B-833D-4693-AFD3-13DDAF0ECA52}" dt="2023-11-14T05:54:24.240" v="3953"/>
          <ac:spMkLst>
            <pc:docMk/>
            <pc:sldMk cId="30365778" sldId="653"/>
            <ac:spMk id="34" creationId="{3D18F562-5519-70C1-E5EB-DA8ACC5FE4F9}"/>
          </ac:spMkLst>
        </pc:spChg>
        <pc:grpChg chg="mod">
          <ac:chgData name="Miraj Sinya" userId="a6e95797-5893-4261-9f10-8f81f198df75" providerId="ADAL" clId="{53F80C9B-833D-4693-AFD3-13DDAF0ECA52}" dt="2023-11-14T05:54:19.445" v="3952" actId="1076"/>
          <ac:grpSpMkLst>
            <pc:docMk/>
            <pc:sldMk cId="30365778" sldId="653"/>
            <ac:grpSpMk id="12" creationId="{7BD8960C-3D22-1F9D-25C0-24602BDA6B70}"/>
          </ac:grpSpMkLst>
        </pc:grpChg>
        <pc:grpChg chg="add del mod">
          <ac:chgData name="Miraj Sinya" userId="a6e95797-5893-4261-9f10-8f81f198df75" providerId="ADAL" clId="{53F80C9B-833D-4693-AFD3-13DDAF0ECA52}" dt="2023-11-14T04:54:40.604" v="2558" actId="165"/>
          <ac:grpSpMkLst>
            <pc:docMk/>
            <pc:sldMk cId="30365778" sldId="653"/>
            <ac:grpSpMk id="15" creationId="{3215560D-AB05-9A26-2535-8601331ABDFE}"/>
          </ac:grpSpMkLst>
        </pc:grpChg>
        <pc:grpChg chg="del">
          <ac:chgData name="Miraj Sinya" userId="a6e95797-5893-4261-9f10-8f81f198df75" providerId="ADAL" clId="{53F80C9B-833D-4693-AFD3-13DDAF0ECA52}" dt="2023-11-14T04:55:14.919" v="2565" actId="478"/>
          <ac:grpSpMkLst>
            <pc:docMk/>
            <pc:sldMk cId="30365778" sldId="653"/>
            <ac:grpSpMk id="17" creationId="{0FC28117-8D13-0331-38A2-0ADC08546ACA}"/>
          </ac:grpSpMkLst>
        </pc:grpChg>
        <pc:grpChg chg="add mod">
          <ac:chgData name="Miraj Sinya" userId="a6e95797-5893-4261-9f10-8f81f198df75" providerId="ADAL" clId="{53F80C9B-833D-4693-AFD3-13DDAF0ECA52}" dt="2023-11-14T05:54:19.445" v="3952" actId="1076"/>
          <ac:grpSpMkLst>
            <pc:docMk/>
            <pc:sldMk cId="30365778" sldId="653"/>
            <ac:grpSpMk id="25" creationId="{5A2735B3-D4FE-D4E0-E66B-41DEFF48C122}"/>
          </ac:grpSpMkLst>
        </pc:grpChg>
        <pc:grpChg chg="mod">
          <ac:chgData name="Miraj Sinya" userId="a6e95797-5893-4261-9f10-8f81f198df75" providerId="ADAL" clId="{53F80C9B-833D-4693-AFD3-13DDAF0ECA52}" dt="2023-11-14T05:54:19.445" v="3952" actId="1076"/>
          <ac:grpSpMkLst>
            <pc:docMk/>
            <pc:sldMk cId="30365778" sldId="653"/>
            <ac:grpSpMk id="27" creationId="{2C273FAE-32FE-F8B1-7CA0-D8B9326E8290}"/>
          </ac:grpSpMkLst>
        </pc:grpChg>
        <pc:grpChg chg="add mod">
          <ac:chgData name="Miraj Sinya" userId="a6e95797-5893-4261-9f10-8f81f198df75" providerId="ADAL" clId="{53F80C9B-833D-4693-AFD3-13DDAF0ECA52}" dt="2023-11-14T05:54:19.445" v="3952" actId="1076"/>
          <ac:grpSpMkLst>
            <pc:docMk/>
            <pc:sldMk cId="30365778" sldId="653"/>
            <ac:grpSpMk id="28" creationId="{F7094B26-047E-7981-9E88-B720F4793900}"/>
          </ac:grpSpMkLst>
        </pc:grpChg>
        <pc:grpChg chg="add mod">
          <ac:chgData name="Miraj Sinya" userId="a6e95797-5893-4261-9f10-8f81f198df75" providerId="ADAL" clId="{53F80C9B-833D-4693-AFD3-13DDAF0ECA52}" dt="2023-11-14T05:54:19.445" v="3952" actId="1076"/>
          <ac:grpSpMkLst>
            <pc:docMk/>
            <pc:sldMk cId="30365778" sldId="653"/>
            <ac:grpSpMk id="33" creationId="{76165193-9454-8048-7458-14F2BE619A93}"/>
          </ac:grpSpMkLst>
        </pc:grpChg>
        <pc:picChg chg="mod">
          <ac:chgData name="Miraj Sinya" userId="a6e95797-5893-4261-9f10-8f81f198df75" providerId="ADAL" clId="{53F80C9B-833D-4693-AFD3-13DDAF0ECA52}" dt="2023-11-14T05:54:19.445" v="3952" actId="1076"/>
          <ac:picMkLst>
            <pc:docMk/>
            <pc:sldMk cId="30365778" sldId="653"/>
            <ac:picMk id="9" creationId="{64316385-4C0E-3B8C-62C8-8ED8E187D0A4}"/>
          </ac:picMkLst>
        </pc:picChg>
        <pc:picChg chg="mod">
          <ac:chgData name="Miraj Sinya" userId="a6e95797-5893-4261-9f10-8f81f198df75" providerId="ADAL" clId="{53F80C9B-833D-4693-AFD3-13DDAF0ECA52}" dt="2023-11-14T05:54:19.445" v="3952" actId="1076"/>
          <ac:picMkLst>
            <pc:docMk/>
            <pc:sldMk cId="30365778" sldId="653"/>
            <ac:picMk id="1026" creationId="{D9407316-218E-17AC-6BCA-7A510A263D0E}"/>
          </ac:picMkLst>
        </pc:picChg>
        <pc:cxnChg chg="mod topLvl">
          <ac:chgData name="Miraj Sinya" userId="a6e95797-5893-4261-9f10-8f81f198df75" providerId="ADAL" clId="{53F80C9B-833D-4693-AFD3-13DDAF0ECA52}" dt="2023-11-14T05:54:19.445" v="3952" actId="1076"/>
          <ac:cxnSpMkLst>
            <pc:docMk/>
            <pc:sldMk cId="30365778" sldId="653"/>
            <ac:cxnSpMk id="19" creationId="{75F3DFCD-66D6-CAAA-0F2A-CF1805E37802}"/>
          </ac:cxnSpMkLst>
        </pc:cxnChg>
        <pc:cxnChg chg="mod">
          <ac:chgData name="Miraj Sinya" userId="a6e95797-5893-4261-9f10-8f81f198df75" providerId="ADAL" clId="{53F80C9B-833D-4693-AFD3-13DDAF0ECA52}" dt="2023-11-14T05:54:19.445" v="3952" actId="1076"/>
          <ac:cxnSpMkLst>
            <pc:docMk/>
            <pc:sldMk cId="30365778" sldId="653"/>
            <ac:cxnSpMk id="30" creationId="{1731DA7C-831C-2126-D9CA-B576F07C7BD6}"/>
          </ac:cxnSpMkLst>
        </pc:cxnChg>
      </pc:sldChg>
      <pc:sldChg chg="addSp delSp modSp add del mod">
        <pc:chgData name="Miraj Sinya" userId="a6e95797-5893-4261-9f10-8f81f198df75" providerId="ADAL" clId="{53F80C9B-833D-4693-AFD3-13DDAF0ECA52}" dt="2023-11-15T00:28:10.213" v="6288" actId="47"/>
        <pc:sldMkLst>
          <pc:docMk/>
          <pc:sldMk cId="1420841478" sldId="654"/>
        </pc:sldMkLst>
        <pc:spChg chg="mod">
          <ac:chgData name="Miraj Sinya" userId="a6e95797-5893-4261-9f10-8f81f198df75" providerId="ADAL" clId="{53F80C9B-833D-4693-AFD3-13DDAF0ECA52}" dt="2023-11-14T22:37:03.130" v="5262"/>
          <ac:spMkLst>
            <pc:docMk/>
            <pc:sldMk cId="1420841478" sldId="654"/>
            <ac:spMk id="2" creationId="{D3F17A13-15DD-FAE6-2CC5-97885DC24AFC}"/>
          </ac:spMkLst>
        </pc:spChg>
        <pc:spChg chg="mod">
          <ac:chgData name="Miraj Sinya" userId="a6e95797-5893-4261-9f10-8f81f198df75" providerId="ADAL" clId="{53F80C9B-833D-4693-AFD3-13DDAF0ECA52}" dt="2023-11-14T22:48:49.257" v="5360" actId="571"/>
          <ac:spMkLst>
            <pc:docMk/>
            <pc:sldMk cId="1420841478" sldId="654"/>
            <ac:spMk id="3" creationId="{79D9E8DC-CF81-A5EF-E313-3D868DA7003D}"/>
          </ac:spMkLst>
        </pc:spChg>
        <pc:spChg chg="mod">
          <ac:chgData name="Miraj Sinya" userId="a6e95797-5893-4261-9f10-8f81f198df75" providerId="ADAL" clId="{53F80C9B-833D-4693-AFD3-13DDAF0ECA52}" dt="2023-11-14T22:48:49.257" v="5360" actId="571"/>
          <ac:spMkLst>
            <pc:docMk/>
            <pc:sldMk cId="1420841478" sldId="654"/>
            <ac:spMk id="4" creationId="{4E81EA7E-0D3B-DA43-96A6-A3D2733F1486}"/>
          </ac:spMkLst>
        </pc:spChg>
        <pc:spChg chg="mod">
          <ac:chgData name="Miraj Sinya" userId="a6e95797-5893-4261-9f10-8f81f198df75" providerId="ADAL" clId="{53F80C9B-833D-4693-AFD3-13DDAF0ECA52}" dt="2023-11-14T22:48:49.257" v="5360" actId="571"/>
          <ac:spMkLst>
            <pc:docMk/>
            <pc:sldMk cId="1420841478" sldId="654"/>
            <ac:spMk id="5" creationId="{48F67AB6-BC7A-7909-6398-5CA565F83E92}"/>
          </ac:spMkLst>
        </pc:spChg>
        <pc:spChg chg="mod">
          <ac:chgData name="Miraj Sinya" userId="a6e95797-5893-4261-9f10-8f81f198df75" providerId="ADAL" clId="{53F80C9B-833D-4693-AFD3-13DDAF0ECA52}" dt="2023-11-14T22:48:49.257" v="5360" actId="571"/>
          <ac:spMkLst>
            <pc:docMk/>
            <pc:sldMk cId="1420841478" sldId="654"/>
            <ac:spMk id="6" creationId="{5DD9868A-1619-0FBD-9D35-10FC677FFAD6}"/>
          </ac:spMkLst>
        </pc:spChg>
        <pc:spChg chg="mod">
          <ac:chgData name="Miraj Sinya" userId="a6e95797-5893-4261-9f10-8f81f198df75" providerId="ADAL" clId="{53F80C9B-833D-4693-AFD3-13DDAF0ECA52}" dt="2023-11-14T22:48:49.257" v="5360" actId="571"/>
          <ac:spMkLst>
            <pc:docMk/>
            <pc:sldMk cId="1420841478" sldId="654"/>
            <ac:spMk id="7" creationId="{89C6BB75-B469-C49C-215F-5956850980A4}"/>
          </ac:spMkLst>
        </pc:spChg>
        <pc:spChg chg="mod">
          <ac:chgData name="Miraj Sinya" userId="a6e95797-5893-4261-9f10-8f81f198df75" providerId="ADAL" clId="{53F80C9B-833D-4693-AFD3-13DDAF0ECA52}" dt="2023-11-14T22:48:49.257" v="5360" actId="571"/>
          <ac:spMkLst>
            <pc:docMk/>
            <pc:sldMk cId="1420841478" sldId="654"/>
            <ac:spMk id="8" creationId="{75E6F3C1-326E-C517-8509-DEE367ABC07E}"/>
          </ac:spMkLst>
        </pc:spChg>
        <pc:spChg chg="mod">
          <ac:chgData name="Miraj Sinya" userId="a6e95797-5893-4261-9f10-8f81f198df75" providerId="ADAL" clId="{53F80C9B-833D-4693-AFD3-13DDAF0ECA52}" dt="2023-11-14T22:48:49.257" v="5360" actId="571"/>
          <ac:spMkLst>
            <pc:docMk/>
            <pc:sldMk cId="1420841478" sldId="654"/>
            <ac:spMk id="10" creationId="{1B0B2C79-4566-8912-41B2-CA61BC2CE245}"/>
          </ac:spMkLst>
        </pc:spChg>
        <pc:spChg chg="mod">
          <ac:chgData name="Miraj Sinya" userId="a6e95797-5893-4261-9f10-8f81f198df75" providerId="ADAL" clId="{53F80C9B-833D-4693-AFD3-13DDAF0ECA52}" dt="2023-11-14T22:48:49.257" v="5360" actId="571"/>
          <ac:spMkLst>
            <pc:docMk/>
            <pc:sldMk cId="1420841478" sldId="654"/>
            <ac:spMk id="11" creationId="{76F3A47A-C5CE-095D-3973-06498931BBC5}"/>
          </ac:spMkLst>
        </pc:spChg>
        <pc:spChg chg="mod">
          <ac:chgData name="Miraj Sinya" userId="a6e95797-5893-4261-9f10-8f81f198df75" providerId="ADAL" clId="{53F80C9B-833D-4693-AFD3-13DDAF0ECA52}" dt="2023-11-14T22:48:49.257" v="5360" actId="571"/>
          <ac:spMkLst>
            <pc:docMk/>
            <pc:sldMk cId="1420841478" sldId="654"/>
            <ac:spMk id="13" creationId="{03E24D44-AB98-09E7-6E5A-8BE56A32907E}"/>
          </ac:spMkLst>
        </pc:spChg>
        <pc:spChg chg="mod">
          <ac:chgData name="Miraj Sinya" userId="a6e95797-5893-4261-9f10-8f81f198df75" providerId="ADAL" clId="{53F80C9B-833D-4693-AFD3-13DDAF0ECA52}" dt="2023-11-14T22:48:49.257" v="5360" actId="571"/>
          <ac:spMkLst>
            <pc:docMk/>
            <pc:sldMk cId="1420841478" sldId="654"/>
            <ac:spMk id="14" creationId="{AD9F55AA-EEAA-1F03-F814-97CD137D98C1}"/>
          </ac:spMkLst>
        </pc:spChg>
        <pc:spChg chg="add mod">
          <ac:chgData name="Miraj Sinya" userId="a6e95797-5893-4261-9f10-8f81f198df75" providerId="ADAL" clId="{53F80C9B-833D-4693-AFD3-13DDAF0ECA52}" dt="2023-11-14T22:48:49.257" v="5360" actId="571"/>
          <ac:spMkLst>
            <pc:docMk/>
            <pc:sldMk cId="1420841478" sldId="654"/>
            <ac:spMk id="15" creationId="{C170AD4B-5CB8-810D-AA75-853DD557F316}"/>
          </ac:spMkLst>
        </pc:spChg>
        <pc:spChg chg="mod">
          <ac:chgData name="Miraj Sinya" userId="a6e95797-5893-4261-9f10-8f81f198df75" providerId="ADAL" clId="{53F80C9B-833D-4693-AFD3-13DDAF0ECA52}" dt="2023-11-14T22:48:49.257" v="5360" actId="571"/>
          <ac:spMkLst>
            <pc:docMk/>
            <pc:sldMk cId="1420841478" sldId="654"/>
            <ac:spMk id="18" creationId="{F670EED7-228D-9758-7E97-5B9663AB2BDA}"/>
          </ac:spMkLst>
        </pc:spChg>
        <pc:spChg chg="del mod">
          <ac:chgData name="Miraj Sinya" userId="a6e95797-5893-4261-9f10-8f81f198df75" providerId="ADAL" clId="{53F80C9B-833D-4693-AFD3-13DDAF0ECA52}" dt="2023-11-14T22:40:15.279" v="5329" actId="478"/>
          <ac:spMkLst>
            <pc:docMk/>
            <pc:sldMk cId="1420841478" sldId="654"/>
            <ac:spMk id="20" creationId="{173F5E13-D000-A003-C6EC-79FA496602EB}"/>
          </ac:spMkLst>
        </pc:spChg>
        <pc:spChg chg="mod">
          <ac:chgData name="Miraj Sinya" userId="a6e95797-5893-4261-9f10-8f81f198df75" providerId="ADAL" clId="{53F80C9B-833D-4693-AFD3-13DDAF0ECA52}" dt="2023-11-14T22:48:49.257" v="5360" actId="571"/>
          <ac:spMkLst>
            <pc:docMk/>
            <pc:sldMk cId="1420841478" sldId="654"/>
            <ac:spMk id="21" creationId="{A8416A47-72B0-1855-EBAD-034626C7AE3A}"/>
          </ac:spMkLst>
        </pc:spChg>
        <pc:spChg chg="add mod">
          <ac:chgData name="Miraj Sinya" userId="a6e95797-5893-4261-9f10-8f81f198df75" providerId="ADAL" clId="{53F80C9B-833D-4693-AFD3-13DDAF0ECA52}" dt="2023-11-14T22:48:49.257" v="5360" actId="571"/>
          <ac:spMkLst>
            <pc:docMk/>
            <pc:sldMk cId="1420841478" sldId="654"/>
            <ac:spMk id="22" creationId="{613295D8-29EA-24E7-4947-EEE8F7281F45}"/>
          </ac:spMkLst>
        </pc:spChg>
        <pc:spChg chg="mod">
          <ac:chgData name="Miraj Sinya" userId="a6e95797-5893-4261-9f10-8f81f198df75" providerId="ADAL" clId="{53F80C9B-833D-4693-AFD3-13DDAF0ECA52}" dt="2023-11-14T22:48:49.257" v="5360" actId="571"/>
          <ac:spMkLst>
            <pc:docMk/>
            <pc:sldMk cId="1420841478" sldId="654"/>
            <ac:spMk id="23" creationId="{9DDB345B-E4B2-DB36-B284-D58390FD44D4}"/>
          </ac:spMkLst>
        </pc:spChg>
        <pc:spChg chg="del mod">
          <ac:chgData name="Miraj Sinya" userId="a6e95797-5893-4261-9f10-8f81f198df75" providerId="ADAL" clId="{53F80C9B-833D-4693-AFD3-13DDAF0ECA52}" dt="2023-11-14T22:40:49.425" v="5335" actId="478"/>
          <ac:spMkLst>
            <pc:docMk/>
            <pc:sldMk cId="1420841478" sldId="654"/>
            <ac:spMk id="24" creationId="{7B837795-356A-997B-4B4D-B78AD22CB06A}"/>
          </ac:spMkLst>
        </pc:spChg>
        <pc:spChg chg="add mod">
          <ac:chgData name="Miraj Sinya" userId="a6e95797-5893-4261-9f10-8f81f198df75" providerId="ADAL" clId="{53F80C9B-833D-4693-AFD3-13DDAF0ECA52}" dt="2023-11-14T22:38:03.844" v="5270" actId="14100"/>
          <ac:spMkLst>
            <pc:docMk/>
            <pc:sldMk cId="1420841478" sldId="654"/>
            <ac:spMk id="25" creationId="{BC056705-9CCB-C2A8-4743-0853B5399106}"/>
          </ac:spMkLst>
        </pc:spChg>
        <pc:spChg chg="del mod">
          <ac:chgData name="Miraj Sinya" userId="a6e95797-5893-4261-9f10-8f81f198df75" providerId="ADAL" clId="{53F80C9B-833D-4693-AFD3-13DDAF0ECA52}" dt="2023-11-14T22:37:12.071" v="5263" actId="478"/>
          <ac:spMkLst>
            <pc:docMk/>
            <pc:sldMk cId="1420841478" sldId="654"/>
            <ac:spMk id="26" creationId="{F1552BBA-DB8E-5DC2-CB65-645CFD5ABD21}"/>
          </ac:spMkLst>
        </pc:spChg>
        <pc:spChg chg="add mod">
          <ac:chgData name="Miraj Sinya" userId="a6e95797-5893-4261-9f10-8f81f198df75" providerId="ADAL" clId="{53F80C9B-833D-4693-AFD3-13DDAF0ECA52}" dt="2023-11-14T22:48:49.257" v="5360" actId="571"/>
          <ac:spMkLst>
            <pc:docMk/>
            <pc:sldMk cId="1420841478" sldId="654"/>
            <ac:spMk id="30" creationId="{236C2E1D-9B75-EAF8-AE80-93ED518E5B5A}"/>
          </ac:spMkLst>
        </pc:spChg>
        <pc:spChg chg="add mod">
          <ac:chgData name="Miraj Sinya" userId="a6e95797-5893-4261-9f10-8f81f198df75" providerId="ADAL" clId="{53F80C9B-833D-4693-AFD3-13DDAF0ECA52}" dt="2023-11-14T22:48:57.534" v="5364" actId="1076"/>
          <ac:spMkLst>
            <pc:docMk/>
            <pc:sldMk cId="1420841478" sldId="654"/>
            <ac:spMk id="32" creationId="{157412C2-127F-D2FB-6EA5-7C82AC829CB6}"/>
          </ac:spMkLst>
        </pc:spChg>
        <pc:grpChg chg="mod">
          <ac:chgData name="Miraj Sinya" userId="a6e95797-5893-4261-9f10-8f81f198df75" providerId="ADAL" clId="{53F80C9B-833D-4693-AFD3-13DDAF0ECA52}" dt="2023-11-14T22:48:49.257" v="5360" actId="571"/>
          <ac:grpSpMkLst>
            <pc:docMk/>
            <pc:sldMk cId="1420841478" sldId="654"/>
            <ac:grpSpMk id="12" creationId="{7BD8960C-3D22-1F9D-25C0-24602BDA6B70}"/>
          </ac:grpSpMkLst>
        </pc:grpChg>
        <pc:grpChg chg="mod">
          <ac:chgData name="Miraj Sinya" userId="a6e95797-5893-4261-9f10-8f81f198df75" providerId="ADAL" clId="{53F80C9B-833D-4693-AFD3-13DDAF0ECA52}" dt="2023-11-14T22:48:49.257" v="5360" actId="571"/>
          <ac:grpSpMkLst>
            <pc:docMk/>
            <pc:sldMk cId="1420841478" sldId="654"/>
            <ac:grpSpMk id="17" creationId="{0FC28117-8D13-0331-38A2-0ADC08546ACA}"/>
          </ac:grpSpMkLst>
        </pc:grpChg>
        <pc:grpChg chg="mod">
          <ac:chgData name="Miraj Sinya" userId="a6e95797-5893-4261-9f10-8f81f198df75" providerId="ADAL" clId="{53F80C9B-833D-4693-AFD3-13DDAF0ECA52}" dt="2023-11-14T22:48:49.257" v="5360" actId="571"/>
          <ac:grpSpMkLst>
            <pc:docMk/>
            <pc:sldMk cId="1420841478" sldId="654"/>
            <ac:grpSpMk id="27" creationId="{2C273FAE-32FE-F8B1-7CA0-D8B9326E8290}"/>
          </ac:grpSpMkLst>
        </pc:grpChg>
        <pc:picChg chg="mod">
          <ac:chgData name="Miraj Sinya" userId="a6e95797-5893-4261-9f10-8f81f198df75" providerId="ADAL" clId="{53F80C9B-833D-4693-AFD3-13DDAF0ECA52}" dt="2023-11-14T22:48:49.257" v="5360" actId="571"/>
          <ac:picMkLst>
            <pc:docMk/>
            <pc:sldMk cId="1420841478" sldId="654"/>
            <ac:picMk id="9" creationId="{64316385-4C0E-3B8C-62C8-8ED8E187D0A4}"/>
          </ac:picMkLst>
        </pc:picChg>
        <pc:picChg chg="mod">
          <ac:chgData name="Miraj Sinya" userId="a6e95797-5893-4261-9f10-8f81f198df75" providerId="ADAL" clId="{53F80C9B-833D-4693-AFD3-13DDAF0ECA52}" dt="2023-11-14T22:48:49.257" v="5360" actId="571"/>
          <ac:picMkLst>
            <pc:docMk/>
            <pc:sldMk cId="1420841478" sldId="654"/>
            <ac:picMk id="1026" creationId="{D9407316-218E-17AC-6BCA-7A510A263D0E}"/>
          </ac:picMkLst>
        </pc:picChg>
        <pc:cxnChg chg="add mod">
          <ac:chgData name="Miraj Sinya" userId="a6e95797-5893-4261-9f10-8f81f198df75" providerId="ADAL" clId="{53F80C9B-833D-4693-AFD3-13DDAF0ECA52}" dt="2023-11-14T22:38:18.297" v="5271" actId="14100"/>
          <ac:cxnSpMkLst>
            <pc:docMk/>
            <pc:sldMk cId="1420841478" sldId="654"/>
            <ac:cxnSpMk id="19" creationId="{C83115F8-AF62-F326-028F-AB97E6118942}"/>
          </ac:cxnSpMkLst>
        </pc:cxnChg>
      </pc:sldChg>
      <pc:sldChg chg="add del">
        <pc:chgData name="Miraj Sinya" userId="a6e95797-5893-4261-9f10-8f81f198df75" providerId="ADAL" clId="{53F80C9B-833D-4693-AFD3-13DDAF0ECA52}" dt="2023-11-14T18:26:43.031" v="3959" actId="2890"/>
        <pc:sldMkLst>
          <pc:docMk/>
          <pc:sldMk cId="3780319166" sldId="654"/>
        </pc:sldMkLst>
      </pc:sldChg>
      <pc:sldChg chg="new del">
        <pc:chgData name="Miraj Sinya" userId="a6e95797-5893-4261-9f10-8f81f198df75" providerId="ADAL" clId="{53F80C9B-833D-4693-AFD3-13DDAF0ECA52}" dt="2023-11-14T22:47:06.121" v="5358" actId="47"/>
        <pc:sldMkLst>
          <pc:docMk/>
          <pc:sldMk cId="3930031389" sldId="655"/>
        </pc:sldMkLst>
      </pc:sldChg>
      <pc:sldChg chg="addSp modSp new del mod">
        <pc:chgData name="Miraj Sinya" userId="a6e95797-5893-4261-9f10-8f81f198df75" providerId="ADAL" clId="{53F80C9B-833D-4693-AFD3-13DDAF0ECA52}" dt="2023-11-15T02:46:35.242" v="9167" actId="47"/>
        <pc:sldMkLst>
          <pc:docMk/>
          <pc:sldMk cId="3494827034" sldId="656"/>
        </pc:sldMkLst>
        <pc:spChg chg="add mod">
          <ac:chgData name="Miraj Sinya" userId="a6e95797-5893-4261-9f10-8f81f198df75" providerId="ADAL" clId="{53F80C9B-833D-4693-AFD3-13DDAF0ECA52}" dt="2023-11-15T02:08:20.850" v="7859" actId="20577"/>
          <ac:spMkLst>
            <pc:docMk/>
            <pc:sldMk cId="3494827034" sldId="656"/>
            <ac:spMk id="3" creationId="{4025EA96-7CBE-5012-0666-6289B53FE0FA}"/>
          </ac:spMkLst>
        </pc:spChg>
      </pc:sldChg>
      <pc:sldChg chg="new del">
        <pc:chgData name="Miraj Sinya" userId="a6e95797-5893-4261-9f10-8f81f198df75" providerId="ADAL" clId="{53F80C9B-833D-4693-AFD3-13DDAF0ECA52}" dt="2023-11-14T22:47:08.705" v="5359" actId="47"/>
        <pc:sldMkLst>
          <pc:docMk/>
          <pc:sldMk cId="336604958" sldId="657"/>
        </pc:sldMkLst>
      </pc:sldChg>
      <pc:sldChg chg="addSp delSp modSp new del mod">
        <pc:chgData name="Miraj Sinya" userId="a6e95797-5893-4261-9f10-8f81f198df75" providerId="ADAL" clId="{53F80C9B-833D-4693-AFD3-13DDAF0ECA52}" dt="2023-11-15T01:05:00.493" v="7036" actId="47"/>
        <pc:sldMkLst>
          <pc:docMk/>
          <pc:sldMk cId="2833188521" sldId="658"/>
        </pc:sldMkLst>
        <pc:picChg chg="add mod">
          <ac:chgData name="Miraj Sinya" userId="a6e95797-5893-4261-9f10-8f81f198df75" providerId="ADAL" clId="{53F80C9B-833D-4693-AFD3-13DDAF0ECA52}" dt="2023-11-14T19:17:40.722" v="4253" actId="1076"/>
          <ac:picMkLst>
            <pc:docMk/>
            <pc:sldMk cId="2833188521" sldId="658"/>
            <ac:picMk id="4" creationId="{07789B51-8224-AD0E-49C6-7B0612729321}"/>
          </ac:picMkLst>
        </pc:picChg>
        <pc:picChg chg="add del mod">
          <ac:chgData name="Miraj Sinya" userId="a6e95797-5893-4261-9f10-8f81f198df75" providerId="ADAL" clId="{53F80C9B-833D-4693-AFD3-13DDAF0ECA52}" dt="2023-11-14T19:20:19.340" v="4261" actId="21"/>
          <ac:picMkLst>
            <pc:docMk/>
            <pc:sldMk cId="2833188521" sldId="658"/>
            <ac:picMk id="6" creationId="{CE9C5B9E-E3D8-D01B-FE11-84A901C4520B}"/>
          </ac:picMkLst>
        </pc:picChg>
        <pc:picChg chg="add del mod">
          <ac:chgData name="Miraj Sinya" userId="a6e95797-5893-4261-9f10-8f81f198df75" providerId="ADAL" clId="{53F80C9B-833D-4693-AFD3-13DDAF0ECA52}" dt="2023-11-14T19:20:19.340" v="4261" actId="21"/>
          <ac:picMkLst>
            <pc:docMk/>
            <pc:sldMk cId="2833188521" sldId="658"/>
            <ac:picMk id="8" creationId="{9305F661-B91A-83B3-F689-BBA1FDF3D76C}"/>
          </ac:picMkLst>
        </pc:picChg>
      </pc:sldChg>
      <pc:sldChg chg="addSp delSp modSp new del mod">
        <pc:chgData name="Miraj Sinya" userId="a6e95797-5893-4261-9f10-8f81f198df75" providerId="ADAL" clId="{53F80C9B-833D-4693-AFD3-13DDAF0ECA52}" dt="2023-11-15T01:05:02.935" v="7037" actId="47"/>
        <pc:sldMkLst>
          <pc:docMk/>
          <pc:sldMk cId="2936534545" sldId="659"/>
        </pc:sldMkLst>
        <pc:picChg chg="add del mod">
          <ac:chgData name="Miraj Sinya" userId="a6e95797-5893-4261-9f10-8f81f198df75" providerId="ADAL" clId="{53F80C9B-833D-4693-AFD3-13DDAF0ECA52}" dt="2023-11-14T19:20:47.462" v="4264" actId="478"/>
          <ac:picMkLst>
            <pc:docMk/>
            <pc:sldMk cId="2936534545" sldId="659"/>
            <ac:picMk id="4" creationId="{77DA8D2E-79A7-7ECA-C4CE-BAE38424831F}"/>
          </ac:picMkLst>
        </pc:picChg>
        <pc:picChg chg="add mod">
          <ac:chgData name="Miraj Sinya" userId="a6e95797-5893-4261-9f10-8f81f198df75" providerId="ADAL" clId="{53F80C9B-833D-4693-AFD3-13DDAF0ECA52}" dt="2023-11-14T19:20:23.097" v="4263" actId="1076"/>
          <ac:picMkLst>
            <pc:docMk/>
            <pc:sldMk cId="2936534545" sldId="659"/>
            <ac:picMk id="5" creationId="{8F27988B-9A99-FB8C-9EB0-3C7491F71523}"/>
          </ac:picMkLst>
        </pc:picChg>
        <pc:picChg chg="add mod">
          <ac:chgData name="Miraj Sinya" userId="a6e95797-5893-4261-9f10-8f81f198df75" providerId="ADAL" clId="{53F80C9B-833D-4693-AFD3-13DDAF0ECA52}" dt="2023-11-14T19:20:23.097" v="4263" actId="1076"/>
          <ac:picMkLst>
            <pc:docMk/>
            <pc:sldMk cId="2936534545" sldId="659"/>
            <ac:picMk id="6" creationId="{896A76F1-32D9-82DF-0F6C-C4CDCC36E88D}"/>
          </ac:picMkLst>
        </pc:picChg>
        <pc:picChg chg="add mod">
          <ac:chgData name="Miraj Sinya" userId="a6e95797-5893-4261-9f10-8f81f198df75" providerId="ADAL" clId="{53F80C9B-833D-4693-AFD3-13DDAF0ECA52}" dt="2023-11-14T19:20:50.633" v="4266" actId="1076"/>
          <ac:picMkLst>
            <pc:docMk/>
            <pc:sldMk cId="2936534545" sldId="659"/>
            <ac:picMk id="8" creationId="{28034742-6524-8C6D-F866-2B00529B2A2A}"/>
          </ac:picMkLst>
        </pc:picChg>
      </pc:sldChg>
      <pc:sldChg chg="addSp delSp modSp add del mod">
        <pc:chgData name="Miraj Sinya" userId="a6e95797-5893-4261-9f10-8f81f198df75" providerId="ADAL" clId="{53F80C9B-833D-4693-AFD3-13DDAF0ECA52}" dt="2023-11-15T00:48:56.986" v="6870" actId="47"/>
        <pc:sldMkLst>
          <pc:docMk/>
          <pc:sldMk cId="2280417507" sldId="660"/>
        </pc:sldMkLst>
        <pc:spChg chg="mod topLvl">
          <ac:chgData name="Miraj Sinya" userId="a6e95797-5893-4261-9f10-8f81f198df75" providerId="ADAL" clId="{53F80C9B-833D-4693-AFD3-13DDAF0ECA52}" dt="2023-11-14T23:04:08.992" v="5604" actId="165"/>
          <ac:spMkLst>
            <pc:docMk/>
            <pc:sldMk cId="2280417507" sldId="660"/>
            <ac:spMk id="3" creationId="{79D9E8DC-CF81-A5EF-E313-3D868DA7003D}"/>
          </ac:spMkLst>
        </pc:spChg>
        <pc:spChg chg="mod">
          <ac:chgData name="Miraj Sinya" userId="a6e95797-5893-4261-9f10-8f81f198df75" providerId="ADAL" clId="{53F80C9B-833D-4693-AFD3-13DDAF0ECA52}" dt="2023-11-14T23:04:08.992" v="5604" actId="165"/>
          <ac:spMkLst>
            <pc:docMk/>
            <pc:sldMk cId="2280417507" sldId="660"/>
            <ac:spMk id="4" creationId="{4E81EA7E-0D3B-DA43-96A6-A3D2733F1486}"/>
          </ac:spMkLst>
        </pc:spChg>
        <pc:spChg chg="mod topLvl">
          <ac:chgData name="Miraj Sinya" userId="a6e95797-5893-4261-9f10-8f81f198df75" providerId="ADAL" clId="{53F80C9B-833D-4693-AFD3-13DDAF0ECA52}" dt="2023-11-14T23:04:08.992" v="5604" actId="165"/>
          <ac:spMkLst>
            <pc:docMk/>
            <pc:sldMk cId="2280417507" sldId="660"/>
            <ac:spMk id="5" creationId="{48F67AB6-BC7A-7909-6398-5CA565F83E92}"/>
          </ac:spMkLst>
        </pc:spChg>
        <pc:spChg chg="mod">
          <ac:chgData name="Miraj Sinya" userId="a6e95797-5893-4261-9f10-8f81f198df75" providerId="ADAL" clId="{53F80C9B-833D-4693-AFD3-13DDAF0ECA52}" dt="2023-11-14T23:04:08.992" v="5604" actId="165"/>
          <ac:spMkLst>
            <pc:docMk/>
            <pc:sldMk cId="2280417507" sldId="660"/>
            <ac:spMk id="6" creationId="{5DD9868A-1619-0FBD-9D35-10FC677FFAD6}"/>
          </ac:spMkLst>
        </pc:spChg>
        <pc:spChg chg="mod topLvl">
          <ac:chgData name="Miraj Sinya" userId="a6e95797-5893-4261-9f10-8f81f198df75" providerId="ADAL" clId="{53F80C9B-833D-4693-AFD3-13DDAF0ECA52}" dt="2023-11-14T23:04:08.992" v="5604" actId="165"/>
          <ac:spMkLst>
            <pc:docMk/>
            <pc:sldMk cId="2280417507" sldId="660"/>
            <ac:spMk id="7" creationId="{89C6BB75-B469-C49C-215F-5956850980A4}"/>
          </ac:spMkLst>
        </pc:spChg>
        <pc:spChg chg="mod">
          <ac:chgData name="Miraj Sinya" userId="a6e95797-5893-4261-9f10-8f81f198df75" providerId="ADAL" clId="{53F80C9B-833D-4693-AFD3-13DDAF0ECA52}" dt="2023-11-14T23:04:08.992" v="5604" actId="165"/>
          <ac:spMkLst>
            <pc:docMk/>
            <pc:sldMk cId="2280417507" sldId="660"/>
            <ac:spMk id="8" creationId="{75E6F3C1-326E-C517-8509-DEE367ABC07E}"/>
          </ac:spMkLst>
        </pc:spChg>
        <pc:spChg chg="mod topLvl">
          <ac:chgData name="Miraj Sinya" userId="a6e95797-5893-4261-9f10-8f81f198df75" providerId="ADAL" clId="{53F80C9B-833D-4693-AFD3-13DDAF0ECA52}" dt="2023-11-14T23:42:09.312" v="5809" actId="207"/>
          <ac:spMkLst>
            <pc:docMk/>
            <pc:sldMk cId="2280417507" sldId="660"/>
            <ac:spMk id="10" creationId="{1B0B2C79-4566-8912-41B2-CA61BC2CE245}"/>
          </ac:spMkLst>
        </pc:spChg>
        <pc:spChg chg="mod topLvl">
          <ac:chgData name="Miraj Sinya" userId="a6e95797-5893-4261-9f10-8f81f198df75" providerId="ADAL" clId="{53F80C9B-833D-4693-AFD3-13DDAF0ECA52}" dt="2023-11-14T23:04:08.992" v="5604" actId="165"/>
          <ac:spMkLst>
            <pc:docMk/>
            <pc:sldMk cId="2280417507" sldId="660"/>
            <ac:spMk id="11" creationId="{76F3A47A-C5CE-095D-3973-06498931BBC5}"/>
          </ac:spMkLst>
        </pc:spChg>
        <pc:spChg chg="mod topLvl">
          <ac:chgData name="Miraj Sinya" userId="a6e95797-5893-4261-9f10-8f81f198df75" providerId="ADAL" clId="{53F80C9B-833D-4693-AFD3-13DDAF0ECA52}" dt="2023-11-14T23:29:42.243" v="5773" actId="1076"/>
          <ac:spMkLst>
            <pc:docMk/>
            <pc:sldMk cId="2280417507" sldId="660"/>
            <ac:spMk id="13" creationId="{03E24D44-AB98-09E7-6E5A-8BE56A32907E}"/>
          </ac:spMkLst>
        </pc:spChg>
        <pc:spChg chg="mod">
          <ac:chgData name="Miraj Sinya" userId="a6e95797-5893-4261-9f10-8f81f198df75" providerId="ADAL" clId="{53F80C9B-833D-4693-AFD3-13DDAF0ECA52}" dt="2023-11-14T23:04:08.992" v="5604" actId="165"/>
          <ac:spMkLst>
            <pc:docMk/>
            <pc:sldMk cId="2280417507" sldId="660"/>
            <ac:spMk id="14" creationId="{AD9F55AA-EEAA-1F03-F814-97CD137D98C1}"/>
          </ac:spMkLst>
        </pc:spChg>
        <pc:spChg chg="mod topLvl">
          <ac:chgData name="Miraj Sinya" userId="a6e95797-5893-4261-9f10-8f81f198df75" providerId="ADAL" clId="{53F80C9B-833D-4693-AFD3-13DDAF0ECA52}" dt="2023-11-14T23:04:08.992" v="5604" actId="165"/>
          <ac:spMkLst>
            <pc:docMk/>
            <pc:sldMk cId="2280417507" sldId="660"/>
            <ac:spMk id="15" creationId="{C170AD4B-5CB8-810D-AA75-853DD557F316}"/>
          </ac:spMkLst>
        </pc:spChg>
        <pc:spChg chg="mod topLvl">
          <ac:chgData name="Miraj Sinya" userId="a6e95797-5893-4261-9f10-8f81f198df75" providerId="ADAL" clId="{53F80C9B-833D-4693-AFD3-13DDAF0ECA52}" dt="2023-11-14T23:04:08.992" v="5604" actId="165"/>
          <ac:spMkLst>
            <pc:docMk/>
            <pc:sldMk cId="2280417507" sldId="660"/>
            <ac:spMk id="18" creationId="{F670EED7-228D-9758-7E97-5B9663AB2BDA}"/>
          </ac:spMkLst>
        </pc:spChg>
        <pc:spChg chg="mod topLvl">
          <ac:chgData name="Miraj Sinya" userId="a6e95797-5893-4261-9f10-8f81f198df75" providerId="ADAL" clId="{53F80C9B-833D-4693-AFD3-13DDAF0ECA52}" dt="2023-11-14T23:28:43.894" v="5766" actId="1036"/>
          <ac:spMkLst>
            <pc:docMk/>
            <pc:sldMk cId="2280417507" sldId="660"/>
            <ac:spMk id="21" creationId="{A8416A47-72B0-1855-EBAD-034626C7AE3A}"/>
          </ac:spMkLst>
        </pc:spChg>
        <pc:spChg chg="mod topLvl">
          <ac:chgData name="Miraj Sinya" userId="a6e95797-5893-4261-9f10-8f81f198df75" providerId="ADAL" clId="{53F80C9B-833D-4693-AFD3-13DDAF0ECA52}" dt="2023-11-14T23:28:43.894" v="5766" actId="1036"/>
          <ac:spMkLst>
            <pc:docMk/>
            <pc:sldMk cId="2280417507" sldId="660"/>
            <ac:spMk id="22" creationId="{613295D8-29EA-24E7-4947-EEE8F7281F45}"/>
          </ac:spMkLst>
        </pc:spChg>
        <pc:spChg chg="mod topLvl">
          <ac:chgData name="Miraj Sinya" userId="a6e95797-5893-4261-9f10-8f81f198df75" providerId="ADAL" clId="{53F80C9B-833D-4693-AFD3-13DDAF0ECA52}" dt="2023-11-14T23:26:07.712" v="5753" actId="1076"/>
          <ac:spMkLst>
            <pc:docMk/>
            <pc:sldMk cId="2280417507" sldId="660"/>
            <ac:spMk id="23" creationId="{9DDB345B-E4B2-DB36-B284-D58390FD44D4}"/>
          </ac:spMkLst>
        </pc:spChg>
        <pc:spChg chg="add mod topLvl">
          <ac:chgData name="Miraj Sinya" userId="a6e95797-5893-4261-9f10-8f81f198df75" providerId="ADAL" clId="{53F80C9B-833D-4693-AFD3-13DDAF0ECA52}" dt="2023-11-14T23:04:08.992" v="5604" actId="165"/>
          <ac:spMkLst>
            <pc:docMk/>
            <pc:sldMk cId="2280417507" sldId="660"/>
            <ac:spMk id="24" creationId="{2D1B4723-3324-9CF6-1355-59640507D841}"/>
          </ac:spMkLst>
        </pc:spChg>
        <pc:spChg chg="mod">
          <ac:chgData name="Miraj Sinya" userId="a6e95797-5893-4261-9f10-8f81f198df75" providerId="ADAL" clId="{53F80C9B-833D-4693-AFD3-13DDAF0ECA52}" dt="2023-11-14T23:26:14.817" v="5754" actId="1076"/>
          <ac:spMkLst>
            <pc:docMk/>
            <pc:sldMk cId="2280417507" sldId="660"/>
            <ac:spMk id="25" creationId="{BC056705-9CCB-C2A8-4743-0853B5399106}"/>
          </ac:spMkLst>
        </pc:spChg>
        <pc:spChg chg="add mod topLvl">
          <ac:chgData name="Miraj Sinya" userId="a6e95797-5893-4261-9f10-8f81f198df75" providerId="ADAL" clId="{53F80C9B-833D-4693-AFD3-13DDAF0ECA52}" dt="2023-11-14T23:32:45.743" v="5797" actId="1076"/>
          <ac:spMkLst>
            <pc:docMk/>
            <pc:sldMk cId="2280417507" sldId="660"/>
            <ac:spMk id="29" creationId="{9E22B54C-0F0D-DEE5-B747-778AEFECB6C6}"/>
          </ac:spMkLst>
        </pc:spChg>
        <pc:spChg chg="mod topLvl">
          <ac:chgData name="Miraj Sinya" userId="a6e95797-5893-4261-9f10-8f81f198df75" providerId="ADAL" clId="{53F80C9B-833D-4693-AFD3-13DDAF0ECA52}" dt="2023-11-15T00:27:10.869" v="6281" actId="20577"/>
          <ac:spMkLst>
            <pc:docMk/>
            <pc:sldMk cId="2280417507" sldId="660"/>
            <ac:spMk id="30" creationId="{236C2E1D-9B75-EAF8-AE80-93ED518E5B5A}"/>
          </ac:spMkLst>
        </pc:spChg>
        <pc:spChg chg="add mod ord topLvl">
          <ac:chgData name="Miraj Sinya" userId="a6e95797-5893-4261-9f10-8f81f198df75" providerId="ADAL" clId="{53F80C9B-833D-4693-AFD3-13DDAF0ECA52}" dt="2023-11-14T23:04:08.992" v="5604" actId="165"/>
          <ac:spMkLst>
            <pc:docMk/>
            <pc:sldMk cId="2280417507" sldId="660"/>
            <ac:spMk id="31" creationId="{0DADFED5-6122-DF12-617B-955CC68EF9CE}"/>
          </ac:spMkLst>
        </pc:spChg>
        <pc:spChg chg="del">
          <ac:chgData name="Miraj Sinya" userId="a6e95797-5893-4261-9f10-8f81f198df75" providerId="ADAL" clId="{53F80C9B-833D-4693-AFD3-13DDAF0ECA52}" dt="2023-11-14T22:54:05.216" v="5447" actId="478"/>
          <ac:spMkLst>
            <pc:docMk/>
            <pc:sldMk cId="2280417507" sldId="660"/>
            <ac:spMk id="32" creationId="{157412C2-127F-D2FB-6EA5-7C82AC829CB6}"/>
          </ac:spMkLst>
        </pc:spChg>
        <pc:spChg chg="add mod">
          <ac:chgData name="Miraj Sinya" userId="a6e95797-5893-4261-9f10-8f81f198df75" providerId="ADAL" clId="{53F80C9B-833D-4693-AFD3-13DDAF0ECA52}" dt="2023-11-14T23:06:19.957" v="5608" actId="1076"/>
          <ac:spMkLst>
            <pc:docMk/>
            <pc:sldMk cId="2280417507" sldId="660"/>
            <ac:spMk id="40" creationId="{28E5E0AC-15BC-A2D2-6D37-2C573BF0F2DE}"/>
          </ac:spMkLst>
        </pc:spChg>
        <pc:spChg chg="add mod topLvl">
          <ac:chgData name="Miraj Sinya" userId="a6e95797-5893-4261-9f10-8f81f198df75" providerId="ADAL" clId="{53F80C9B-833D-4693-AFD3-13DDAF0ECA52}" dt="2023-11-14T23:06:19.957" v="5608" actId="1076"/>
          <ac:spMkLst>
            <pc:docMk/>
            <pc:sldMk cId="2280417507" sldId="660"/>
            <ac:spMk id="41" creationId="{CD7C754B-E321-311F-7827-1715269D1E95}"/>
          </ac:spMkLst>
        </pc:spChg>
        <pc:spChg chg="add mod topLvl">
          <ac:chgData name="Miraj Sinya" userId="a6e95797-5893-4261-9f10-8f81f198df75" providerId="ADAL" clId="{53F80C9B-833D-4693-AFD3-13DDAF0ECA52}" dt="2023-11-14T23:06:19.957" v="5608" actId="1076"/>
          <ac:spMkLst>
            <pc:docMk/>
            <pc:sldMk cId="2280417507" sldId="660"/>
            <ac:spMk id="43" creationId="{79583122-737C-E215-C72D-032F90F72EFF}"/>
          </ac:spMkLst>
        </pc:spChg>
        <pc:spChg chg="add mod">
          <ac:chgData name="Miraj Sinya" userId="a6e95797-5893-4261-9f10-8f81f198df75" providerId="ADAL" clId="{53F80C9B-833D-4693-AFD3-13DDAF0ECA52}" dt="2023-11-14T23:07:31.344" v="5734" actId="20577"/>
          <ac:spMkLst>
            <pc:docMk/>
            <pc:sldMk cId="2280417507" sldId="660"/>
            <ac:spMk id="46" creationId="{FED1059A-9606-AF65-CCFE-3ED293CAC22D}"/>
          </ac:spMkLst>
        </pc:spChg>
        <pc:spChg chg="add mod">
          <ac:chgData name="Miraj Sinya" userId="a6e95797-5893-4261-9f10-8f81f198df75" providerId="ADAL" clId="{53F80C9B-833D-4693-AFD3-13DDAF0ECA52}" dt="2023-11-14T23:06:31.429" v="5610" actId="1076"/>
          <ac:spMkLst>
            <pc:docMk/>
            <pc:sldMk cId="2280417507" sldId="660"/>
            <ac:spMk id="47" creationId="{746CA908-6968-3054-E143-8DF54032E40D}"/>
          </ac:spMkLst>
        </pc:spChg>
        <pc:spChg chg="add mod">
          <ac:chgData name="Miraj Sinya" userId="a6e95797-5893-4261-9f10-8f81f198df75" providerId="ADAL" clId="{53F80C9B-833D-4693-AFD3-13DDAF0ECA52}" dt="2023-11-14T23:34:41.696" v="5807" actId="207"/>
          <ac:spMkLst>
            <pc:docMk/>
            <pc:sldMk cId="2280417507" sldId="660"/>
            <ac:spMk id="54" creationId="{3F597FED-C8AE-D1FF-08E8-217C668A7238}"/>
          </ac:spMkLst>
        </pc:spChg>
        <pc:spChg chg="mod topLvl">
          <ac:chgData name="Miraj Sinya" userId="a6e95797-5893-4261-9f10-8f81f198df75" providerId="ADAL" clId="{53F80C9B-833D-4693-AFD3-13DDAF0ECA52}" dt="2023-11-15T00:27:28.311" v="6287" actId="14100"/>
          <ac:spMkLst>
            <pc:docMk/>
            <pc:sldMk cId="2280417507" sldId="660"/>
            <ac:spMk id="56" creationId="{5E7FB01D-2AFF-7326-F717-E21367A5B186}"/>
          </ac:spMkLst>
        </pc:spChg>
        <pc:spChg chg="del mod topLvl">
          <ac:chgData name="Miraj Sinya" userId="a6e95797-5893-4261-9f10-8f81f198df75" providerId="ADAL" clId="{53F80C9B-833D-4693-AFD3-13DDAF0ECA52}" dt="2023-11-15T00:26:52.142" v="6272" actId="478"/>
          <ac:spMkLst>
            <pc:docMk/>
            <pc:sldMk cId="2280417507" sldId="660"/>
            <ac:spMk id="57" creationId="{AC473DB2-C974-4815-31F5-B02A9168ED95}"/>
          </ac:spMkLst>
        </pc:spChg>
        <pc:spChg chg="add mod">
          <ac:chgData name="Miraj Sinya" userId="a6e95797-5893-4261-9f10-8f81f198df75" providerId="ADAL" clId="{53F80C9B-833D-4693-AFD3-13DDAF0ECA52}" dt="2023-11-15T00:41:11.647" v="6628" actId="20577"/>
          <ac:spMkLst>
            <pc:docMk/>
            <pc:sldMk cId="2280417507" sldId="660"/>
            <ac:spMk id="58" creationId="{3AC672CD-DF37-3B01-815F-BDE30D927E3E}"/>
          </ac:spMkLst>
        </pc:spChg>
        <pc:grpChg chg="mod topLvl">
          <ac:chgData name="Miraj Sinya" userId="a6e95797-5893-4261-9f10-8f81f198df75" providerId="ADAL" clId="{53F80C9B-833D-4693-AFD3-13DDAF0ECA52}" dt="2023-11-14T23:04:08.992" v="5604" actId="165"/>
          <ac:grpSpMkLst>
            <pc:docMk/>
            <pc:sldMk cId="2280417507" sldId="660"/>
            <ac:grpSpMk id="12" creationId="{7BD8960C-3D22-1F9D-25C0-24602BDA6B70}"/>
          </ac:grpSpMkLst>
        </pc:grpChg>
        <pc:grpChg chg="mod topLvl">
          <ac:chgData name="Miraj Sinya" userId="a6e95797-5893-4261-9f10-8f81f198df75" providerId="ADAL" clId="{53F80C9B-833D-4693-AFD3-13DDAF0ECA52}" dt="2023-11-14T23:04:08.992" v="5604" actId="165"/>
          <ac:grpSpMkLst>
            <pc:docMk/>
            <pc:sldMk cId="2280417507" sldId="660"/>
            <ac:grpSpMk id="17" creationId="{0FC28117-8D13-0331-38A2-0ADC08546ACA}"/>
          </ac:grpSpMkLst>
        </pc:grpChg>
        <pc:grpChg chg="del mod">
          <ac:chgData name="Miraj Sinya" userId="a6e95797-5893-4261-9f10-8f81f198df75" providerId="ADAL" clId="{53F80C9B-833D-4693-AFD3-13DDAF0ECA52}" dt="2023-11-14T23:04:08.992" v="5604" actId="165"/>
          <ac:grpSpMkLst>
            <pc:docMk/>
            <pc:sldMk cId="2280417507" sldId="660"/>
            <ac:grpSpMk id="27" creationId="{2C273FAE-32FE-F8B1-7CA0-D8B9326E8290}"/>
          </ac:grpSpMkLst>
        </pc:grpChg>
        <pc:grpChg chg="add mod">
          <ac:chgData name="Miraj Sinya" userId="a6e95797-5893-4261-9f10-8f81f198df75" providerId="ADAL" clId="{53F80C9B-833D-4693-AFD3-13DDAF0ECA52}" dt="2023-11-14T23:28:43.894" v="5766" actId="1036"/>
          <ac:grpSpMkLst>
            <pc:docMk/>
            <pc:sldMk cId="2280417507" sldId="660"/>
            <ac:grpSpMk id="50" creationId="{13D874ED-E16B-684F-6BD2-9E366DA130E0}"/>
          </ac:grpSpMkLst>
        </pc:grpChg>
        <pc:grpChg chg="add del mod">
          <ac:chgData name="Miraj Sinya" userId="a6e95797-5893-4261-9f10-8f81f198df75" providerId="ADAL" clId="{53F80C9B-833D-4693-AFD3-13DDAF0ECA52}" dt="2023-11-15T00:26:52.142" v="6272" actId="478"/>
          <ac:grpSpMkLst>
            <pc:docMk/>
            <pc:sldMk cId="2280417507" sldId="660"/>
            <ac:grpSpMk id="55" creationId="{90FB3F93-6FE0-C3CD-46CA-8819A30993BA}"/>
          </ac:grpSpMkLst>
        </pc:grpChg>
        <pc:picChg chg="mod">
          <ac:chgData name="Miraj Sinya" userId="a6e95797-5893-4261-9f10-8f81f198df75" providerId="ADAL" clId="{53F80C9B-833D-4693-AFD3-13DDAF0ECA52}" dt="2023-11-14T23:04:08.992" v="5604" actId="165"/>
          <ac:picMkLst>
            <pc:docMk/>
            <pc:sldMk cId="2280417507" sldId="660"/>
            <ac:picMk id="9" creationId="{64316385-4C0E-3B8C-62C8-8ED8E187D0A4}"/>
          </ac:picMkLst>
        </pc:picChg>
        <pc:picChg chg="mod">
          <ac:chgData name="Miraj Sinya" userId="a6e95797-5893-4261-9f10-8f81f198df75" providerId="ADAL" clId="{53F80C9B-833D-4693-AFD3-13DDAF0ECA52}" dt="2023-11-14T23:04:08.992" v="5604" actId="165"/>
          <ac:picMkLst>
            <pc:docMk/>
            <pc:sldMk cId="2280417507" sldId="660"/>
            <ac:picMk id="1026" creationId="{D9407316-218E-17AC-6BCA-7A510A263D0E}"/>
          </ac:picMkLst>
        </pc:picChg>
        <pc:cxnChg chg="mod">
          <ac:chgData name="Miraj Sinya" userId="a6e95797-5893-4261-9f10-8f81f198df75" providerId="ADAL" clId="{53F80C9B-833D-4693-AFD3-13DDAF0ECA52}" dt="2023-11-14T23:32:45.743" v="5797" actId="1076"/>
          <ac:cxnSpMkLst>
            <pc:docMk/>
            <pc:sldMk cId="2280417507" sldId="660"/>
            <ac:cxnSpMk id="19" creationId="{C83115F8-AF62-F326-028F-AB97E6118942}"/>
          </ac:cxnSpMkLst>
        </pc:cxnChg>
      </pc:sldChg>
      <pc:sldChg chg="addSp delSp modSp mod">
        <pc:chgData name="Miraj Sinya" userId="a6e95797-5893-4261-9f10-8f81f198df75" providerId="ADAL" clId="{53F80C9B-833D-4693-AFD3-13DDAF0ECA52}" dt="2023-11-15T03:42:03.756" v="10149" actId="20577"/>
        <pc:sldMkLst>
          <pc:docMk/>
          <pc:sldMk cId="3433786130" sldId="661"/>
        </pc:sldMkLst>
        <pc:spChg chg="mod">
          <ac:chgData name="Miraj Sinya" userId="a6e95797-5893-4261-9f10-8f81f198df75" providerId="ADAL" clId="{53F80C9B-833D-4693-AFD3-13DDAF0ECA52}" dt="2023-11-15T03:42:03.756" v="10149" actId="20577"/>
          <ac:spMkLst>
            <pc:docMk/>
            <pc:sldMk cId="3433786130" sldId="661"/>
            <ac:spMk id="2" creationId="{CA372987-E89F-70E1-460B-57B4E589FDA0}"/>
          </ac:spMkLst>
        </pc:spChg>
        <pc:spChg chg="del">
          <ac:chgData name="Miraj Sinya" userId="a6e95797-5893-4261-9f10-8f81f198df75" providerId="ADAL" clId="{53F80C9B-833D-4693-AFD3-13DDAF0ECA52}" dt="2023-11-15T02:34:49.024" v="8915" actId="478"/>
          <ac:spMkLst>
            <pc:docMk/>
            <pc:sldMk cId="3433786130" sldId="661"/>
            <ac:spMk id="8" creationId="{FC782A10-2088-140A-6E9E-DFC36E0118E3}"/>
          </ac:spMkLst>
        </pc:spChg>
        <pc:spChg chg="add mod">
          <ac:chgData name="Miraj Sinya" userId="a6e95797-5893-4261-9f10-8f81f198df75" providerId="ADAL" clId="{53F80C9B-833D-4693-AFD3-13DDAF0ECA52}" dt="2023-11-15T02:41:14.416" v="9101" actId="20577"/>
          <ac:spMkLst>
            <pc:docMk/>
            <pc:sldMk cId="3433786130" sldId="661"/>
            <ac:spMk id="9" creationId="{71BD4557-DE9E-D564-1020-7364341F6665}"/>
          </ac:spMkLst>
        </pc:spChg>
        <pc:spChg chg="add mod">
          <ac:chgData name="Miraj Sinya" userId="a6e95797-5893-4261-9f10-8f81f198df75" providerId="ADAL" clId="{53F80C9B-833D-4693-AFD3-13DDAF0ECA52}" dt="2023-11-15T02:36:28.813" v="8920" actId="1076"/>
          <ac:spMkLst>
            <pc:docMk/>
            <pc:sldMk cId="3433786130" sldId="661"/>
            <ac:spMk id="10" creationId="{890FC61F-7EE4-01FB-7AF4-A395C3C2D6C4}"/>
          </ac:spMkLst>
        </pc:spChg>
        <pc:spChg chg="add mod">
          <ac:chgData name="Miraj Sinya" userId="a6e95797-5893-4261-9f10-8f81f198df75" providerId="ADAL" clId="{53F80C9B-833D-4693-AFD3-13DDAF0ECA52}" dt="2023-11-15T02:36:33.712" v="8921" actId="571"/>
          <ac:spMkLst>
            <pc:docMk/>
            <pc:sldMk cId="3433786130" sldId="661"/>
            <ac:spMk id="11" creationId="{634B70FC-5D68-4F75-BDA5-7FDB162A9E63}"/>
          </ac:spMkLst>
        </pc:spChg>
        <pc:picChg chg="mod">
          <ac:chgData name="Miraj Sinya" userId="a6e95797-5893-4261-9f10-8f81f198df75" providerId="ADAL" clId="{53F80C9B-833D-4693-AFD3-13DDAF0ECA52}" dt="2023-11-15T02:34:20.790" v="8911" actId="1076"/>
          <ac:picMkLst>
            <pc:docMk/>
            <pc:sldMk cId="3433786130" sldId="661"/>
            <ac:picMk id="3" creationId="{77D25541-B644-BE4C-DA45-46B1EBC7ED0A}"/>
          </ac:picMkLst>
        </pc:picChg>
        <pc:picChg chg="mod">
          <ac:chgData name="Miraj Sinya" userId="a6e95797-5893-4261-9f10-8f81f198df75" providerId="ADAL" clId="{53F80C9B-833D-4693-AFD3-13DDAF0ECA52}" dt="2023-11-15T02:34:24.806" v="8912" actId="1076"/>
          <ac:picMkLst>
            <pc:docMk/>
            <pc:sldMk cId="3433786130" sldId="661"/>
            <ac:picMk id="4" creationId="{9C01E317-72A3-C63A-31BB-C12C48A5291A}"/>
          </ac:picMkLst>
        </pc:picChg>
        <pc:picChg chg="mod">
          <ac:chgData name="Miraj Sinya" userId="a6e95797-5893-4261-9f10-8f81f198df75" providerId="ADAL" clId="{53F80C9B-833D-4693-AFD3-13DDAF0ECA52}" dt="2023-11-15T02:34:14.927" v="8910" actId="1076"/>
          <ac:picMkLst>
            <pc:docMk/>
            <pc:sldMk cId="3433786130" sldId="661"/>
            <ac:picMk id="5" creationId="{4E6AF9E8-9D8A-CDDE-C922-2D1547F5B009}"/>
          </ac:picMkLst>
        </pc:picChg>
        <pc:picChg chg="mod">
          <ac:chgData name="Miraj Sinya" userId="a6e95797-5893-4261-9f10-8f81f198df75" providerId="ADAL" clId="{53F80C9B-833D-4693-AFD3-13DDAF0ECA52}" dt="2023-11-15T02:34:00.056" v="8907" actId="1076"/>
          <ac:picMkLst>
            <pc:docMk/>
            <pc:sldMk cId="3433786130" sldId="661"/>
            <ac:picMk id="6" creationId="{7FD7F17D-B27F-165F-B434-6C86A8108364}"/>
          </ac:picMkLst>
        </pc:picChg>
        <pc:cxnChg chg="add mod">
          <ac:chgData name="Miraj Sinya" userId="a6e95797-5893-4261-9f10-8f81f198df75" providerId="ADAL" clId="{53F80C9B-833D-4693-AFD3-13DDAF0ECA52}" dt="2023-11-15T02:37:07.243" v="8924" actId="1582"/>
          <ac:cxnSpMkLst>
            <pc:docMk/>
            <pc:sldMk cId="3433786130" sldId="661"/>
            <ac:cxnSpMk id="13" creationId="{D1506772-40AA-6BFD-6E27-8B0B0A478141}"/>
          </ac:cxnSpMkLst>
        </pc:cxnChg>
      </pc:sldChg>
      <pc:sldChg chg="new del">
        <pc:chgData name="Miraj Sinya" userId="a6e95797-5893-4261-9f10-8f81f198df75" providerId="ADAL" clId="{53F80C9B-833D-4693-AFD3-13DDAF0ECA52}" dt="2023-11-14T23:58:36.936" v="6053" actId="680"/>
        <pc:sldMkLst>
          <pc:docMk/>
          <pc:sldMk cId="3668610133" sldId="661"/>
        </pc:sldMkLst>
      </pc:sldChg>
      <pc:sldChg chg="addSp delSp modSp mod">
        <pc:chgData name="Miraj Sinya" userId="a6e95797-5893-4261-9f10-8f81f198df75" providerId="ADAL" clId="{53F80C9B-833D-4693-AFD3-13DDAF0ECA52}" dt="2023-11-15T03:36:21.471" v="10008" actId="313"/>
        <pc:sldMkLst>
          <pc:docMk/>
          <pc:sldMk cId="2440270720" sldId="662"/>
        </pc:sldMkLst>
        <pc:spChg chg="mod">
          <ac:chgData name="Miraj Sinya" userId="a6e95797-5893-4261-9f10-8f81f198df75" providerId="ADAL" clId="{53F80C9B-833D-4693-AFD3-13DDAF0ECA52}" dt="2023-11-15T02:53:31.334" v="9247" actId="20577"/>
          <ac:spMkLst>
            <pc:docMk/>
            <pc:sldMk cId="2440270720" sldId="662"/>
            <ac:spMk id="2" creationId="{CE1BC19B-32F2-8788-4F05-F791A9736B66}"/>
          </ac:spMkLst>
        </pc:spChg>
        <pc:spChg chg="del mod">
          <ac:chgData name="Miraj Sinya" userId="a6e95797-5893-4261-9f10-8f81f198df75" providerId="ADAL" clId="{53F80C9B-833D-4693-AFD3-13DDAF0ECA52}" dt="2023-11-15T02:39:02.457" v="8959" actId="478"/>
          <ac:spMkLst>
            <pc:docMk/>
            <pc:sldMk cId="2440270720" sldId="662"/>
            <ac:spMk id="12" creationId="{DEAACDDB-BDD9-09F0-11D0-B0C5776BFA42}"/>
          </ac:spMkLst>
        </pc:spChg>
        <pc:spChg chg="add del">
          <ac:chgData name="Miraj Sinya" userId="a6e95797-5893-4261-9f10-8f81f198df75" providerId="ADAL" clId="{53F80C9B-833D-4693-AFD3-13DDAF0ECA52}" dt="2023-11-15T02:16:12.519" v="7980" actId="22"/>
          <ac:spMkLst>
            <pc:docMk/>
            <pc:sldMk cId="2440270720" sldId="662"/>
            <ac:spMk id="13" creationId="{C644FEB0-B4BA-332B-D40C-9F78107D1ECF}"/>
          </ac:spMkLst>
        </pc:spChg>
        <pc:spChg chg="del mod">
          <ac:chgData name="Miraj Sinya" userId="a6e95797-5893-4261-9f10-8f81f198df75" providerId="ADAL" clId="{53F80C9B-833D-4693-AFD3-13DDAF0ECA52}" dt="2023-11-15T03:20:28.559" v="9932" actId="478"/>
          <ac:spMkLst>
            <pc:docMk/>
            <pc:sldMk cId="2440270720" sldId="662"/>
            <ac:spMk id="14" creationId="{6E840CFC-39B1-98F6-4497-54E9DFFB7DAC}"/>
          </ac:spMkLst>
        </pc:spChg>
        <pc:spChg chg="del mod">
          <ac:chgData name="Miraj Sinya" userId="a6e95797-5893-4261-9f10-8f81f198df75" providerId="ADAL" clId="{53F80C9B-833D-4693-AFD3-13DDAF0ECA52}" dt="2023-11-15T03:20:31.796" v="9933" actId="478"/>
          <ac:spMkLst>
            <pc:docMk/>
            <pc:sldMk cId="2440270720" sldId="662"/>
            <ac:spMk id="16" creationId="{5E68E45D-6E74-98F5-EA55-F8FB88A5AC48}"/>
          </ac:spMkLst>
        </pc:spChg>
        <pc:spChg chg="mod">
          <ac:chgData name="Miraj Sinya" userId="a6e95797-5893-4261-9f10-8f81f198df75" providerId="ADAL" clId="{53F80C9B-833D-4693-AFD3-13DDAF0ECA52}" dt="2023-11-15T02:39:13.712" v="8968" actId="20577"/>
          <ac:spMkLst>
            <pc:docMk/>
            <pc:sldMk cId="2440270720" sldId="662"/>
            <ac:spMk id="17" creationId="{E5745574-CFAC-7326-A828-A8EADFD54EFC}"/>
          </ac:spMkLst>
        </pc:spChg>
        <pc:spChg chg="add del mod">
          <ac:chgData name="Miraj Sinya" userId="a6e95797-5893-4261-9f10-8f81f198df75" providerId="ADAL" clId="{53F80C9B-833D-4693-AFD3-13DDAF0ECA52}" dt="2023-11-15T02:49:39.318" v="9194" actId="478"/>
          <ac:spMkLst>
            <pc:docMk/>
            <pc:sldMk cId="2440270720" sldId="662"/>
            <ac:spMk id="19" creationId="{B6F18641-7DD7-CDAE-4E7D-170A6A77E42B}"/>
          </ac:spMkLst>
        </pc:spChg>
        <pc:spChg chg="add mod">
          <ac:chgData name="Miraj Sinya" userId="a6e95797-5893-4261-9f10-8f81f198df75" providerId="ADAL" clId="{53F80C9B-833D-4693-AFD3-13DDAF0ECA52}" dt="2023-11-15T03:18:39.288" v="9857" actId="313"/>
          <ac:spMkLst>
            <pc:docMk/>
            <pc:sldMk cId="2440270720" sldId="662"/>
            <ac:spMk id="20" creationId="{7431FCB8-349C-4A30-ED77-6B671FA3CE7B}"/>
          </ac:spMkLst>
        </pc:spChg>
        <pc:spChg chg="mod">
          <ac:chgData name="Miraj Sinya" userId="a6e95797-5893-4261-9f10-8f81f198df75" providerId="ADAL" clId="{53F80C9B-833D-4693-AFD3-13DDAF0ECA52}" dt="2023-11-15T03:09:00.497" v="9605" actId="20577"/>
          <ac:spMkLst>
            <pc:docMk/>
            <pc:sldMk cId="2440270720" sldId="662"/>
            <ac:spMk id="23" creationId="{D68CE6C0-C09F-ADC1-BFB9-86AEB2CCC0D2}"/>
          </ac:spMkLst>
        </pc:spChg>
        <pc:spChg chg="del">
          <ac:chgData name="Miraj Sinya" userId="a6e95797-5893-4261-9f10-8f81f198df75" providerId="ADAL" clId="{53F80C9B-833D-4693-AFD3-13DDAF0ECA52}" dt="2023-11-15T02:39:18.233" v="8969" actId="478"/>
          <ac:spMkLst>
            <pc:docMk/>
            <pc:sldMk cId="2440270720" sldId="662"/>
            <ac:spMk id="30" creationId="{D656C1D2-3652-2149-4C19-244212193F57}"/>
          </ac:spMkLst>
        </pc:spChg>
        <pc:spChg chg="add del mod">
          <ac:chgData name="Miraj Sinya" userId="a6e95797-5893-4261-9f10-8f81f198df75" providerId="ADAL" clId="{53F80C9B-833D-4693-AFD3-13DDAF0ECA52}" dt="2023-11-15T03:09:46.393" v="9615" actId="478"/>
          <ac:spMkLst>
            <pc:docMk/>
            <pc:sldMk cId="2440270720" sldId="662"/>
            <ac:spMk id="31" creationId="{0615D220-B657-93AB-5CE8-4E1BD40EE4DF}"/>
          </ac:spMkLst>
        </pc:spChg>
        <pc:spChg chg="add mod ord topLvl">
          <ac:chgData name="Miraj Sinya" userId="a6e95797-5893-4261-9f10-8f81f198df75" providerId="ADAL" clId="{53F80C9B-833D-4693-AFD3-13DDAF0ECA52}" dt="2023-11-15T03:11:22.999" v="9638" actId="164"/>
          <ac:spMkLst>
            <pc:docMk/>
            <pc:sldMk cId="2440270720" sldId="662"/>
            <ac:spMk id="33" creationId="{8C54D10B-49AC-186C-6B52-DDA8B1B5A8E1}"/>
          </ac:spMkLst>
        </pc:spChg>
        <pc:spChg chg="add mod">
          <ac:chgData name="Miraj Sinya" userId="a6e95797-5893-4261-9f10-8f81f198df75" providerId="ADAL" clId="{53F80C9B-833D-4693-AFD3-13DDAF0ECA52}" dt="2023-11-15T03:36:21.471" v="10008" actId="313"/>
          <ac:spMkLst>
            <pc:docMk/>
            <pc:sldMk cId="2440270720" sldId="662"/>
            <ac:spMk id="36" creationId="{6C603450-D67C-8623-0B4F-51F40DDE3E9D}"/>
          </ac:spMkLst>
        </pc:spChg>
        <pc:grpChg chg="add del mod">
          <ac:chgData name="Miraj Sinya" userId="a6e95797-5893-4261-9f10-8f81f198df75" providerId="ADAL" clId="{53F80C9B-833D-4693-AFD3-13DDAF0ECA52}" dt="2023-11-15T03:09:49.285" v="9616" actId="478"/>
          <ac:grpSpMkLst>
            <pc:docMk/>
            <pc:sldMk cId="2440270720" sldId="662"/>
            <ac:grpSpMk id="15" creationId="{9DBA3EA7-3AFA-CDCF-E5AC-4BFB8ADE5AC7}"/>
          </ac:grpSpMkLst>
        </pc:grpChg>
        <pc:grpChg chg="add del mod">
          <ac:chgData name="Miraj Sinya" userId="a6e95797-5893-4261-9f10-8f81f198df75" providerId="ADAL" clId="{53F80C9B-833D-4693-AFD3-13DDAF0ECA52}" dt="2023-11-15T02:43:13.021" v="9126" actId="165"/>
          <ac:grpSpMkLst>
            <pc:docMk/>
            <pc:sldMk cId="2440270720" sldId="662"/>
            <ac:grpSpMk id="21" creationId="{A1601375-3188-95B7-AEB7-05433D6ECC66}"/>
          </ac:grpSpMkLst>
        </pc:grpChg>
        <pc:grpChg chg="add mod">
          <ac:chgData name="Miraj Sinya" userId="a6e95797-5893-4261-9f10-8f81f198df75" providerId="ADAL" clId="{53F80C9B-833D-4693-AFD3-13DDAF0ECA52}" dt="2023-11-15T02:44:54.242" v="9145" actId="14100"/>
          <ac:grpSpMkLst>
            <pc:docMk/>
            <pc:sldMk cId="2440270720" sldId="662"/>
            <ac:grpSpMk id="22" creationId="{C659929F-6577-E36C-0723-62077D3CC26B}"/>
          </ac:grpSpMkLst>
        </pc:grpChg>
        <pc:grpChg chg="add mod topLvl">
          <ac:chgData name="Miraj Sinya" userId="a6e95797-5893-4261-9f10-8f81f198df75" providerId="ADAL" clId="{53F80C9B-833D-4693-AFD3-13DDAF0ECA52}" dt="2023-11-15T03:11:22.999" v="9638" actId="164"/>
          <ac:grpSpMkLst>
            <pc:docMk/>
            <pc:sldMk cId="2440270720" sldId="662"/>
            <ac:grpSpMk id="32" creationId="{85DA0E13-E910-577A-18AE-EC26BB7DFAEA}"/>
          </ac:grpSpMkLst>
        </pc:grpChg>
        <pc:grpChg chg="add del mod">
          <ac:chgData name="Miraj Sinya" userId="a6e95797-5893-4261-9f10-8f81f198df75" providerId="ADAL" clId="{53F80C9B-833D-4693-AFD3-13DDAF0ECA52}" dt="2023-11-15T03:11:19.461" v="9637" actId="165"/>
          <ac:grpSpMkLst>
            <pc:docMk/>
            <pc:sldMk cId="2440270720" sldId="662"/>
            <ac:grpSpMk id="34" creationId="{68994EB6-A82E-8992-298F-55A98864670C}"/>
          </ac:grpSpMkLst>
        </pc:grpChg>
        <pc:grpChg chg="add mod">
          <ac:chgData name="Miraj Sinya" userId="a6e95797-5893-4261-9f10-8f81f198df75" providerId="ADAL" clId="{53F80C9B-833D-4693-AFD3-13DDAF0ECA52}" dt="2023-11-15T03:24:43.207" v="9944" actId="14100"/>
          <ac:grpSpMkLst>
            <pc:docMk/>
            <pc:sldMk cId="2440270720" sldId="662"/>
            <ac:grpSpMk id="35" creationId="{8A2DCD76-34A2-D60D-B3ED-31EB8B551E19}"/>
          </ac:grpSpMkLst>
        </pc:grpChg>
        <pc:picChg chg="mod topLvl">
          <ac:chgData name="Miraj Sinya" userId="a6e95797-5893-4261-9f10-8f81f198df75" providerId="ADAL" clId="{53F80C9B-833D-4693-AFD3-13DDAF0ECA52}" dt="2023-11-15T03:11:19.461" v="9637" actId="165"/>
          <ac:picMkLst>
            <pc:docMk/>
            <pc:sldMk cId="2440270720" sldId="662"/>
            <ac:picMk id="3" creationId="{6167BDF9-AFE4-09BD-8EC5-D8437CB56AC9}"/>
          </ac:picMkLst>
        </pc:picChg>
        <pc:picChg chg="mod topLvl">
          <ac:chgData name="Miraj Sinya" userId="a6e95797-5893-4261-9f10-8f81f198df75" providerId="ADAL" clId="{53F80C9B-833D-4693-AFD3-13DDAF0ECA52}" dt="2023-11-15T03:11:19.461" v="9637" actId="165"/>
          <ac:picMkLst>
            <pc:docMk/>
            <pc:sldMk cId="2440270720" sldId="662"/>
            <ac:picMk id="6" creationId="{A4BF0A16-0284-2663-49F1-9D1AC40C533A}"/>
          </ac:picMkLst>
        </pc:picChg>
        <pc:picChg chg="mod topLvl">
          <ac:chgData name="Miraj Sinya" userId="a6e95797-5893-4261-9f10-8f81f198df75" providerId="ADAL" clId="{53F80C9B-833D-4693-AFD3-13DDAF0ECA52}" dt="2023-11-15T03:11:19.461" v="9637" actId="165"/>
          <ac:picMkLst>
            <pc:docMk/>
            <pc:sldMk cId="2440270720" sldId="662"/>
            <ac:picMk id="7" creationId="{5D0A5316-FCD4-0CBC-92F4-8369A62F73B4}"/>
          </ac:picMkLst>
        </pc:picChg>
        <pc:picChg chg="mod topLvl">
          <ac:chgData name="Miraj Sinya" userId="a6e95797-5893-4261-9f10-8f81f198df75" providerId="ADAL" clId="{53F80C9B-833D-4693-AFD3-13DDAF0ECA52}" dt="2023-11-15T03:11:19.461" v="9637" actId="165"/>
          <ac:picMkLst>
            <pc:docMk/>
            <pc:sldMk cId="2440270720" sldId="662"/>
            <ac:picMk id="8" creationId="{0766A6AD-0CAE-1B03-EE47-004915CEC971}"/>
          </ac:picMkLst>
        </pc:picChg>
        <pc:picChg chg="mod topLvl">
          <ac:chgData name="Miraj Sinya" userId="a6e95797-5893-4261-9f10-8f81f198df75" providerId="ADAL" clId="{53F80C9B-833D-4693-AFD3-13DDAF0ECA52}" dt="2023-11-15T03:11:19.461" v="9637" actId="165"/>
          <ac:picMkLst>
            <pc:docMk/>
            <pc:sldMk cId="2440270720" sldId="662"/>
            <ac:picMk id="9" creationId="{41AF150A-6530-384A-9DA5-ED40A9F44832}"/>
          </ac:picMkLst>
        </pc:picChg>
        <pc:picChg chg="del mod topLvl">
          <ac:chgData name="Miraj Sinya" userId="a6e95797-5893-4261-9f10-8f81f198df75" providerId="ADAL" clId="{53F80C9B-833D-4693-AFD3-13DDAF0ECA52}" dt="2023-11-15T02:45:21.806" v="9153" actId="478"/>
          <ac:picMkLst>
            <pc:docMk/>
            <pc:sldMk cId="2440270720" sldId="662"/>
            <ac:picMk id="10" creationId="{36B7AFF8-907D-6EDB-09AC-3DF8239C4620}"/>
          </ac:picMkLst>
        </pc:picChg>
        <pc:cxnChg chg="mod">
          <ac:chgData name="Miraj Sinya" userId="a6e95797-5893-4261-9f10-8f81f198df75" providerId="ADAL" clId="{53F80C9B-833D-4693-AFD3-13DDAF0ECA52}" dt="2023-11-15T02:38:54.610" v="8957"/>
          <ac:cxnSpMkLst>
            <pc:docMk/>
            <pc:sldMk cId="2440270720" sldId="662"/>
            <ac:cxnSpMk id="18" creationId="{56BDE808-9E14-F290-CB99-9124AE4F5707}"/>
          </ac:cxnSpMkLst>
        </pc:cxnChg>
        <pc:cxnChg chg="mod">
          <ac:chgData name="Miraj Sinya" userId="a6e95797-5893-4261-9f10-8f81f198df75" providerId="ADAL" clId="{53F80C9B-833D-4693-AFD3-13DDAF0ECA52}" dt="2023-11-15T02:44:36.393" v="9136" actId="571"/>
          <ac:cxnSpMkLst>
            <pc:docMk/>
            <pc:sldMk cId="2440270720" sldId="662"/>
            <ac:cxnSpMk id="25" creationId="{AACEE271-DA50-B931-1A62-E774B086C435}"/>
          </ac:cxnSpMkLst>
        </pc:cxnChg>
        <pc:cxnChg chg="add del mod">
          <ac:chgData name="Miraj Sinya" userId="a6e95797-5893-4261-9f10-8f81f198df75" providerId="ADAL" clId="{53F80C9B-833D-4693-AFD3-13DDAF0ECA52}" dt="2023-11-15T02:48:32.408" v="9185"/>
          <ac:cxnSpMkLst>
            <pc:docMk/>
            <pc:sldMk cId="2440270720" sldId="662"/>
            <ac:cxnSpMk id="27" creationId="{E07BC8F8-B9BA-7A7D-8B0C-A93BCC197C3D}"/>
          </ac:cxnSpMkLst>
        </pc:cxnChg>
      </pc:sldChg>
      <pc:sldChg chg="addSp delSp modSp mod">
        <pc:chgData name="Miraj Sinya" userId="a6e95797-5893-4261-9f10-8f81f198df75" providerId="ADAL" clId="{53F80C9B-833D-4693-AFD3-13DDAF0ECA52}" dt="2023-11-15T03:25:33.420" v="9959" actId="6549"/>
        <pc:sldMkLst>
          <pc:docMk/>
          <pc:sldMk cId="2631071951" sldId="663"/>
        </pc:sldMkLst>
        <pc:spChg chg="mod">
          <ac:chgData name="Miraj Sinya" userId="a6e95797-5893-4261-9f10-8f81f198df75" providerId="ADAL" clId="{53F80C9B-833D-4693-AFD3-13DDAF0ECA52}" dt="2023-11-15T02:53:14.854" v="9241" actId="20577"/>
          <ac:spMkLst>
            <pc:docMk/>
            <pc:sldMk cId="2631071951" sldId="663"/>
            <ac:spMk id="2" creationId="{217E0B4A-07D6-C4CB-5243-47665BC82692}"/>
          </ac:spMkLst>
        </pc:spChg>
        <pc:spChg chg="mod">
          <ac:chgData name="Miraj Sinya" userId="a6e95797-5893-4261-9f10-8f81f198df75" providerId="ADAL" clId="{53F80C9B-833D-4693-AFD3-13DDAF0ECA52}" dt="2023-11-15T02:38:33.400" v="8954" actId="20577"/>
          <ac:spMkLst>
            <pc:docMk/>
            <pc:sldMk cId="2631071951" sldId="663"/>
            <ac:spMk id="11" creationId="{2DF16586-323A-A938-492C-F48DEEFD0965}"/>
          </ac:spMkLst>
        </pc:spChg>
        <pc:spChg chg="del mod">
          <ac:chgData name="Miraj Sinya" userId="a6e95797-5893-4261-9f10-8f81f198df75" providerId="ADAL" clId="{53F80C9B-833D-4693-AFD3-13DDAF0ECA52}" dt="2023-11-15T02:47:28.363" v="9171" actId="478"/>
          <ac:spMkLst>
            <pc:docMk/>
            <pc:sldMk cId="2631071951" sldId="663"/>
            <ac:spMk id="14" creationId="{CC18FE1E-6562-DD4D-1944-99C6DD34BEEF}"/>
          </ac:spMkLst>
        </pc:spChg>
        <pc:spChg chg="del mod">
          <ac:chgData name="Miraj Sinya" userId="a6e95797-5893-4261-9f10-8f81f198df75" providerId="ADAL" clId="{53F80C9B-833D-4693-AFD3-13DDAF0ECA52}" dt="2023-11-15T03:20:35.512" v="9935" actId="478"/>
          <ac:spMkLst>
            <pc:docMk/>
            <pc:sldMk cId="2631071951" sldId="663"/>
            <ac:spMk id="15" creationId="{50A70C61-4442-570D-B179-CA5FF508D8A4}"/>
          </ac:spMkLst>
        </pc:spChg>
        <pc:spChg chg="mod">
          <ac:chgData name="Miraj Sinya" userId="a6e95797-5893-4261-9f10-8f81f198df75" providerId="ADAL" clId="{53F80C9B-833D-4693-AFD3-13DDAF0ECA52}" dt="2023-11-15T03:09:38.336" v="9614" actId="20577"/>
          <ac:spMkLst>
            <pc:docMk/>
            <pc:sldMk cId="2631071951" sldId="663"/>
            <ac:spMk id="18" creationId="{BA98111C-B29F-B363-C5E2-CF9342355A13}"/>
          </ac:spMkLst>
        </pc:spChg>
        <pc:spChg chg="del mod">
          <ac:chgData name="Miraj Sinya" userId="a6e95797-5893-4261-9f10-8f81f198df75" providerId="ADAL" clId="{53F80C9B-833D-4693-AFD3-13DDAF0ECA52}" dt="2023-11-15T03:20:37.098" v="9936" actId="478"/>
          <ac:spMkLst>
            <pc:docMk/>
            <pc:sldMk cId="2631071951" sldId="663"/>
            <ac:spMk id="19" creationId="{C7731321-117E-F10B-DA9F-53C239405A32}"/>
          </ac:spMkLst>
        </pc:spChg>
        <pc:spChg chg="del mod">
          <ac:chgData name="Miraj Sinya" userId="a6e95797-5893-4261-9f10-8f81f198df75" providerId="ADAL" clId="{53F80C9B-833D-4693-AFD3-13DDAF0ECA52}" dt="2023-11-15T02:48:58.213" v="9193"/>
          <ac:spMkLst>
            <pc:docMk/>
            <pc:sldMk cId="2631071951" sldId="663"/>
            <ac:spMk id="20" creationId="{656433DD-C3F7-0AE5-6C2A-270492655F35}"/>
          </ac:spMkLst>
        </pc:spChg>
        <pc:spChg chg="add del mod">
          <ac:chgData name="Miraj Sinya" userId="a6e95797-5893-4261-9f10-8f81f198df75" providerId="ADAL" clId="{53F80C9B-833D-4693-AFD3-13DDAF0ECA52}" dt="2023-11-15T02:48:34.772" v="9187" actId="478"/>
          <ac:spMkLst>
            <pc:docMk/>
            <pc:sldMk cId="2631071951" sldId="663"/>
            <ac:spMk id="22" creationId="{C577F414-0C24-CB6D-5434-11BCC2C5B9DE}"/>
          </ac:spMkLst>
        </pc:spChg>
        <pc:spChg chg="add del mod">
          <ac:chgData name="Miraj Sinya" userId="a6e95797-5893-4261-9f10-8f81f198df75" providerId="ADAL" clId="{53F80C9B-833D-4693-AFD3-13DDAF0ECA52}" dt="2023-11-15T02:52:00.925" v="9197" actId="478"/>
          <ac:spMkLst>
            <pc:docMk/>
            <pc:sldMk cId="2631071951" sldId="663"/>
            <ac:spMk id="24" creationId="{4445E99D-C476-55BF-9387-962FA9F52D35}"/>
          </ac:spMkLst>
        </pc:spChg>
        <pc:spChg chg="add mod">
          <ac:chgData name="Miraj Sinya" userId="a6e95797-5893-4261-9f10-8f81f198df75" providerId="ADAL" clId="{53F80C9B-833D-4693-AFD3-13DDAF0ECA52}" dt="2023-11-15T03:18:55.966" v="9869" actId="20577"/>
          <ac:spMkLst>
            <pc:docMk/>
            <pc:sldMk cId="2631071951" sldId="663"/>
            <ac:spMk id="25" creationId="{BF065E26-950F-9647-3D55-CB049E1EC090}"/>
          </ac:spMkLst>
        </pc:spChg>
        <pc:spChg chg="add del mod">
          <ac:chgData name="Miraj Sinya" userId="a6e95797-5893-4261-9f10-8f81f198df75" providerId="ADAL" clId="{53F80C9B-833D-4693-AFD3-13DDAF0ECA52}" dt="2023-11-15T02:57:16.017" v="9428" actId="478"/>
          <ac:spMkLst>
            <pc:docMk/>
            <pc:sldMk cId="2631071951" sldId="663"/>
            <ac:spMk id="26" creationId="{8C20FA29-5C98-DF85-4F74-E61686CBD95D}"/>
          </ac:spMkLst>
        </pc:spChg>
        <pc:spChg chg="add del mod">
          <ac:chgData name="Miraj Sinya" userId="a6e95797-5893-4261-9f10-8f81f198df75" providerId="ADAL" clId="{53F80C9B-833D-4693-AFD3-13DDAF0ECA52}" dt="2023-11-15T02:57:16.017" v="9428" actId="478"/>
          <ac:spMkLst>
            <pc:docMk/>
            <pc:sldMk cId="2631071951" sldId="663"/>
            <ac:spMk id="27" creationId="{B94A1492-C5DB-C414-516F-FC543B3A606C}"/>
          </ac:spMkLst>
        </pc:spChg>
        <pc:spChg chg="add del mod">
          <ac:chgData name="Miraj Sinya" userId="a6e95797-5893-4261-9f10-8f81f198df75" providerId="ADAL" clId="{53F80C9B-833D-4693-AFD3-13DDAF0ECA52}" dt="2023-11-15T03:14:36.519" v="9720" actId="478"/>
          <ac:spMkLst>
            <pc:docMk/>
            <pc:sldMk cId="2631071951" sldId="663"/>
            <ac:spMk id="28" creationId="{70771B24-3D52-F6BA-77C9-A3062B7EC3B6}"/>
          </ac:spMkLst>
        </pc:spChg>
        <pc:spChg chg="add mod">
          <ac:chgData name="Miraj Sinya" userId="a6e95797-5893-4261-9f10-8f81f198df75" providerId="ADAL" clId="{53F80C9B-833D-4693-AFD3-13DDAF0ECA52}" dt="2023-11-15T03:24:38.559" v="9943" actId="14100"/>
          <ac:spMkLst>
            <pc:docMk/>
            <pc:sldMk cId="2631071951" sldId="663"/>
            <ac:spMk id="30" creationId="{E967B7C0-D6B6-C62A-6BB0-38346A8C7B50}"/>
          </ac:spMkLst>
        </pc:spChg>
        <pc:spChg chg="add mod">
          <ac:chgData name="Miraj Sinya" userId="a6e95797-5893-4261-9f10-8f81f198df75" providerId="ADAL" clId="{53F80C9B-833D-4693-AFD3-13DDAF0ECA52}" dt="2023-11-15T03:25:33.420" v="9959" actId="6549"/>
          <ac:spMkLst>
            <pc:docMk/>
            <pc:sldMk cId="2631071951" sldId="663"/>
            <ac:spMk id="31" creationId="{9B9B9E4D-570A-67DE-5508-8D7A2B4C6C89}"/>
          </ac:spMkLst>
        </pc:spChg>
        <pc:grpChg chg="add del mod">
          <ac:chgData name="Miraj Sinya" userId="a6e95797-5893-4261-9f10-8f81f198df75" providerId="ADAL" clId="{53F80C9B-833D-4693-AFD3-13DDAF0ECA52}" dt="2023-11-15T03:14:36.519" v="9720" actId="478"/>
          <ac:grpSpMkLst>
            <pc:docMk/>
            <pc:sldMk cId="2631071951" sldId="663"/>
            <ac:grpSpMk id="9" creationId="{5C9D00CC-8C5B-E21A-39AF-269A337B3659}"/>
          </ac:grpSpMkLst>
        </pc:grpChg>
        <pc:grpChg chg="add mod">
          <ac:chgData name="Miraj Sinya" userId="a6e95797-5893-4261-9f10-8f81f198df75" providerId="ADAL" clId="{53F80C9B-833D-4693-AFD3-13DDAF0ECA52}" dt="2023-11-15T02:46:19.430" v="9163"/>
          <ac:grpSpMkLst>
            <pc:docMk/>
            <pc:sldMk cId="2631071951" sldId="663"/>
            <ac:grpSpMk id="17" creationId="{CACFD2AF-F039-E723-5BB9-6180758692C6}"/>
          </ac:grpSpMkLst>
        </pc:grpChg>
        <pc:grpChg chg="add mod">
          <ac:chgData name="Miraj Sinya" userId="a6e95797-5893-4261-9f10-8f81f198df75" providerId="ADAL" clId="{53F80C9B-833D-4693-AFD3-13DDAF0ECA52}" dt="2023-11-15T03:11:27.833" v="9639" actId="164"/>
          <ac:grpSpMkLst>
            <pc:docMk/>
            <pc:sldMk cId="2631071951" sldId="663"/>
            <ac:grpSpMk id="29" creationId="{A15583A4-640F-AEB2-05B3-A838F93FFD5F}"/>
          </ac:grpSpMkLst>
        </pc:grpChg>
        <pc:picChg chg="add del">
          <ac:chgData name="Miraj Sinya" userId="a6e95797-5893-4261-9f10-8f81f198df75" providerId="ADAL" clId="{53F80C9B-833D-4693-AFD3-13DDAF0ECA52}" dt="2023-11-15T02:45:49.944" v="9158" actId="478"/>
          <ac:picMkLst>
            <pc:docMk/>
            <pc:sldMk cId="2631071951" sldId="663"/>
            <ac:picMk id="3" creationId="{A9EAA27E-01A7-AC2A-C13E-43934EA37809}"/>
          </ac:picMkLst>
        </pc:picChg>
        <pc:picChg chg="mod">
          <ac:chgData name="Miraj Sinya" userId="a6e95797-5893-4261-9f10-8f81f198df75" providerId="ADAL" clId="{53F80C9B-833D-4693-AFD3-13DDAF0ECA52}" dt="2023-11-15T03:11:27.833" v="9639" actId="164"/>
          <ac:picMkLst>
            <pc:docMk/>
            <pc:sldMk cId="2631071951" sldId="663"/>
            <ac:picMk id="4" creationId="{127340BA-D378-92BE-8608-B0ACB5636897}"/>
          </ac:picMkLst>
        </pc:picChg>
        <pc:picChg chg="mod">
          <ac:chgData name="Miraj Sinya" userId="a6e95797-5893-4261-9f10-8f81f198df75" providerId="ADAL" clId="{53F80C9B-833D-4693-AFD3-13DDAF0ECA52}" dt="2023-11-15T03:11:27.833" v="9639" actId="164"/>
          <ac:picMkLst>
            <pc:docMk/>
            <pc:sldMk cId="2631071951" sldId="663"/>
            <ac:picMk id="5" creationId="{9FF51EAE-D29F-780A-0F8A-88744D506AFB}"/>
          </ac:picMkLst>
        </pc:picChg>
        <pc:picChg chg="mod">
          <ac:chgData name="Miraj Sinya" userId="a6e95797-5893-4261-9f10-8f81f198df75" providerId="ADAL" clId="{53F80C9B-833D-4693-AFD3-13DDAF0ECA52}" dt="2023-11-15T03:11:27.833" v="9639" actId="164"/>
          <ac:picMkLst>
            <pc:docMk/>
            <pc:sldMk cId="2631071951" sldId="663"/>
            <ac:picMk id="6" creationId="{12047494-C4D5-DF73-D85A-9EBC8C049455}"/>
          </ac:picMkLst>
        </pc:picChg>
        <pc:picChg chg="mod">
          <ac:chgData name="Miraj Sinya" userId="a6e95797-5893-4261-9f10-8f81f198df75" providerId="ADAL" clId="{53F80C9B-833D-4693-AFD3-13DDAF0ECA52}" dt="2023-11-15T03:11:27.833" v="9639" actId="164"/>
          <ac:picMkLst>
            <pc:docMk/>
            <pc:sldMk cId="2631071951" sldId="663"/>
            <ac:picMk id="7" creationId="{DEA8BE89-C2C8-EEC0-A704-E154DBF55294}"/>
          </ac:picMkLst>
        </pc:picChg>
        <pc:picChg chg="mod">
          <ac:chgData name="Miraj Sinya" userId="a6e95797-5893-4261-9f10-8f81f198df75" providerId="ADAL" clId="{53F80C9B-833D-4693-AFD3-13DDAF0ECA52}" dt="2023-11-15T03:11:27.833" v="9639" actId="164"/>
          <ac:picMkLst>
            <pc:docMk/>
            <pc:sldMk cId="2631071951" sldId="663"/>
            <ac:picMk id="8" creationId="{5685396D-966E-1376-9141-8340797817CF}"/>
          </ac:picMkLst>
        </pc:picChg>
        <pc:cxnChg chg="mod">
          <ac:chgData name="Miraj Sinya" userId="a6e95797-5893-4261-9f10-8f81f198df75" providerId="ADAL" clId="{53F80C9B-833D-4693-AFD3-13DDAF0ECA52}" dt="2023-11-15T02:38:21.915" v="8930"/>
          <ac:cxnSpMkLst>
            <pc:docMk/>
            <pc:sldMk cId="2631071951" sldId="663"/>
            <ac:cxnSpMk id="13" creationId="{C90FC6D2-0D05-F64A-C84A-D4AA7760441F}"/>
          </ac:cxnSpMkLst>
        </pc:cxnChg>
        <pc:cxnChg chg="mod">
          <ac:chgData name="Miraj Sinya" userId="a6e95797-5893-4261-9f10-8f81f198df75" providerId="ADAL" clId="{53F80C9B-833D-4693-AFD3-13DDAF0ECA52}" dt="2023-11-15T02:46:19.430" v="9163"/>
          <ac:cxnSpMkLst>
            <pc:docMk/>
            <pc:sldMk cId="2631071951" sldId="663"/>
            <ac:cxnSpMk id="21" creationId="{B9F42C7A-9D64-99ED-E7B9-AB95769350EB}"/>
          </ac:cxnSpMkLst>
        </pc:cxnChg>
        <pc:cxnChg chg="add del mod">
          <ac:chgData name="Miraj Sinya" userId="a6e95797-5893-4261-9f10-8f81f198df75" providerId="ADAL" clId="{53F80C9B-833D-4693-AFD3-13DDAF0ECA52}" dt="2023-11-15T02:48:30.496" v="9181"/>
          <ac:cxnSpMkLst>
            <pc:docMk/>
            <pc:sldMk cId="2631071951" sldId="663"/>
            <ac:cxnSpMk id="23" creationId="{BF9EB6A4-307C-796C-87E6-9CE24CDA236D}"/>
          </ac:cxnSpMkLst>
        </pc:cxnChg>
      </pc:sldChg>
      <pc:sldChg chg="addSp delSp modSp add del mod">
        <pc:chgData name="Miraj Sinya" userId="a6e95797-5893-4261-9f10-8f81f198df75" providerId="ADAL" clId="{53F80C9B-833D-4693-AFD3-13DDAF0ECA52}" dt="2023-11-15T01:04:58.447" v="7035" actId="47"/>
        <pc:sldMkLst>
          <pc:docMk/>
          <pc:sldMk cId="2236171292" sldId="664"/>
        </pc:sldMkLst>
        <pc:spChg chg="add del mod">
          <ac:chgData name="Miraj Sinya" userId="a6e95797-5893-4261-9f10-8f81f198df75" providerId="ADAL" clId="{53F80C9B-833D-4693-AFD3-13DDAF0ECA52}" dt="2023-11-15T00:39:07.817" v="6620" actId="478"/>
          <ac:spMkLst>
            <pc:docMk/>
            <pc:sldMk cId="2236171292" sldId="664"/>
            <ac:spMk id="3" creationId="{AF2B7007-468A-3A3F-86E8-13319DB0621F}"/>
          </ac:spMkLst>
        </pc:spChg>
      </pc:sldChg>
      <pc:sldChg chg="addSp delSp modSp mod">
        <pc:chgData name="Miraj Sinya" userId="a6e95797-5893-4261-9f10-8f81f198df75" providerId="ADAL" clId="{53F80C9B-833D-4693-AFD3-13DDAF0ECA52}" dt="2023-11-15T03:40:08.992" v="10147" actId="313"/>
        <pc:sldMkLst>
          <pc:docMk/>
          <pc:sldMk cId="1699252185" sldId="665"/>
        </pc:sldMkLst>
        <pc:spChg chg="mod">
          <ac:chgData name="Miraj Sinya" userId="a6e95797-5893-4261-9f10-8f81f198df75" providerId="ADAL" clId="{53F80C9B-833D-4693-AFD3-13DDAF0ECA52}" dt="2023-11-15T02:53:10.475" v="9239" actId="20577"/>
          <ac:spMkLst>
            <pc:docMk/>
            <pc:sldMk cId="1699252185" sldId="665"/>
            <ac:spMk id="2" creationId="{F231E841-9AA8-A602-3C1F-8883E0C0C0E6}"/>
          </ac:spMkLst>
        </pc:spChg>
        <pc:spChg chg="add mod">
          <ac:chgData name="Miraj Sinya" userId="a6e95797-5893-4261-9f10-8f81f198df75" providerId="ADAL" clId="{53F80C9B-833D-4693-AFD3-13DDAF0ECA52}" dt="2023-11-15T03:40:08.992" v="10147" actId="313"/>
          <ac:spMkLst>
            <pc:docMk/>
            <pc:sldMk cId="1699252185" sldId="665"/>
            <ac:spMk id="3" creationId="{D87C5D98-C69C-B58C-F333-446A4914582E}"/>
          </ac:spMkLst>
        </pc:spChg>
        <pc:spChg chg="del">
          <ac:chgData name="Miraj Sinya" userId="a6e95797-5893-4261-9f10-8f81f198df75" providerId="ADAL" clId="{53F80C9B-833D-4693-AFD3-13DDAF0ECA52}" dt="2023-11-15T03:37:23.583" v="10060" actId="478"/>
          <ac:spMkLst>
            <pc:docMk/>
            <pc:sldMk cId="1699252185" sldId="665"/>
            <ac:spMk id="5" creationId="{29C80825-857F-F326-ABB1-1796A8EFED3F}"/>
          </ac:spMkLst>
        </pc:spChg>
        <pc:spChg chg="del">
          <ac:chgData name="Miraj Sinya" userId="a6e95797-5893-4261-9f10-8f81f198df75" providerId="ADAL" clId="{53F80C9B-833D-4693-AFD3-13DDAF0ECA52}" dt="2023-11-15T03:37:31.434" v="10062" actId="478"/>
          <ac:spMkLst>
            <pc:docMk/>
            <pc:sldMk cId="1699252185" sldId="665"/>
            <ac:spMk id="6" creationId="{5922189E-C8C1-0ABF-7D6F-F9E5BE0035E4}"/>
          </ac:spMkLst>
        </pc:spChg>
        <pc:spChg chg="del">
          <ac:chgData name="Miraj Sinya" userId="a6e95797-5893-4261-9f10-8f81f198df75" providerId="ADAL" clId="{53F80C9B-833D-4693-AFD3-13DDAF0ECA52}" dt="2023-11-15T03:37:26.057" v="10061" actId="478"/>
          <ac:spMkLst>
            <pc:docMk/>
            <pc:sldMk cId="1699252185" sldId="665"/>
            <ac:spMk id="7" creationId="{A5D8350A-25A2-4C43-5BB5-A21FD26B274F}"/>
          </ac:spMkLst>
        </pc:spChg>
        <pc:spChg chg="del mod">
          <ac:chgData name="Miraj Sinya" userId="a6e95797-5893-4261-9f10-8f81f198df75" providerId="ADAL" clId="{53F80C9B-833D-4693-AFD3-13DDAF0ECA52}" dt="2023-11-15T03:37:36.487" v="10064" actId="478"/>
          <ac:spMkLst>
            <pc:docMk/>
            <pc:sldMk cId="1699252185" sldId="665"/>
            <ac:spMk id="8" creationId="{07089C6C-BAE0-D4E3-E394-061AFFC3C8D6}"/>
          </ac:spMkLst>
        </pc:spChg>
        <pc:picChg chg="mod">
          <ac:chgData name="Miraj Sinya" userId="a6e95797-5893-4261-9f10-8f81f198df75" providerId="ADAL" clId="{53F80C9B-833D-4693-AFD3-13DDAF0ECA52}" dt="2023-11-15T02:59:51.579" v="9432" actId="1076"/>
          <ac:picMkLst>
            <pc:docMk/>
            <pc:sldMk cId="1699252185" sldId="665"/>
            <ac:picMk id="4" creationId="{EF58319D-CE46-DB7E-118E-5FD4E4A18C83}"/>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9090" name="Rectangle 2"/>
          <p:cNvSpPr>
            <a:spLocks noGrp="1" noChangeArrowheads="1"/>
          </p:cNvSpPr>
          <p:nvPr>
            <p:ph type="hdr" sz="quarter"/>
          </p:nvPr>
        </p:nvSpPr>
        <p:spPr bwMode="auto">
          <a:xfrm>
            <a:off x="4" y="4"/>
            <a:ext cx="2981493" cy="535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92" tIns="45795" rIns="91592" bIns="45795" numCol="1" anchor="t" anchorCtr="0" compatLnSpc="1">
            <a:prstTxWarp prst="textNoShape">
              <a:avLst/>
            </a:prstTxWarp>
          </a:bodyPr>
          <a:lstStyle>
            <a:lvl1pPr defTabSz="917378">
              <a:defRPr sz="1100"/>
            </a:lvl1pPr>
          </a:lstStyle>
          <a:p>
            <a:endParaRPr lang="en-US" altLang="ja-JP"/>
          </a:p>
        </p:txBody>
      </p:sp>
      <p:sp>
        <p:nvSpPr>
          <p:cNvPr id="89091" name="Rectangle 3"/>
          <p:cNvSpPr>
            <a:spLocks noGrp="1" noChangeArrowheads="1"/>
          </p:cNvSpPr>
          <p:nvPr>
            <p:ph type="dt" sz="quarter" idx="1"/>
          </p:nvPr>
        </p:nvSpPr>
        <p:spPr bwMode="auto">
          <a:xfrm>
            <a:off x="3822591" y="4"/>
            <a:ext cx="2981493" cy="535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92" tIns="45795" rIns="91592" bIns="45795" numCol="1" anchor="t" anchorCtr="0" compatLnSpc="1">
            <a:prstTxWarp prst="textNoShape">
              <a:avLst/>
            </a:prstTxWarp>
          </a:bodyPr>
          <a:lstStyle>
            <a:lvl1pPr algn="r" defTabSz="917378">
              <a:defRPr sz="1100"/>
            </a:lvl1pPr>
          </a:lstStyle>
          <a:p>
            <a:endParaRPr lang="en-US" altLang="ja-JP"/>
          </a:p>
        </p:txBody>
      </p:sp>
      <p:sp>
        <p:nvSpPr>
          <p:cNvPr id="89092" name="Rectangle 4"/>
          <p:cNvSpPr>
            <a:spLocks noGrp="1" noChangeArrowheads="1"/>
          </p:cNvSpPr>
          <p:nvPr>
            <p:ph type="ftr" sz="quarter" idx="2"/>
          </p:nvPr>
        </p:nvSpPr>
        <p:spPr bwMode="auto">
          <a:xfrm>
            <a:off x="4" y="9394772"/>
            <a:ext cx="2981493" cy="535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92" tIns="45795" rIns="91592" bIns="45795" numCol="1" anchor="b" anchorCtr="0" compatLnSpc="1">
            <a:prstTxWarp prst="textNoShape">
              <a:avLst/>
            </a:prstTxWarp>
          </a:bodyPr>
          <a:lstStyle>
            <a:lvl1pPr defTabSz="917378">
              <a:defRPr sz="1100"/>
            </a:lvl1pPr>
          </a:lstStyle>
          <a:p>
            <a:endParaRPr lang="en-US" altLang="ja-JP"/>
          </a:p>
        </p:txBody>
      </p:sp>
      <p:sp>
        <p:nvSpPr>
          <p:cNvPr id="89093" name="Rectangle 5"/>
          <p:cNvSpPr>
            <a:spLocks noGrp="1" noChangeArrowheads="1"/>
          </p:cNvSpPr>
          <p:nvPr>
            <p:ph type="sldNum" sz="quarter" idx="3"/>
          </p:nvPr>
        </p:nvSpPr>
        <p:spPr bwMode="auto">
          <a:xfrm>
            <a:off x="3822591" y="9394772"/>
            <a:ext cx="2981493" cy="535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92" tIns="45795" rIns="91592" bIns="45795" numCol="1" anchor="b" anchorCtr="0" compatLnSpc="1">
            <a:prstTxWarp prst="textNoShape">
              <a:avLst/>
            </a:prstTxWarp>
          </a:bodyPr>
          <a:lstStyle>
            <a:lvl1pPr algn="r" defTabSz="917378">
              <a:defRPr sz="1100"/>
            </a:lvl1pPr>
          </a:lstStyle>
          <a:p>
            <a:fld id="{8512D75A-4968-4B85-978D-6B81A9CAAE46}" type="slidenum">
              <a:rPr lang="en-US" altLang="ja-JP"/>
              <a:pPr/>
              <a:t>‹#›</a:t>
            </a:fld>
            <a:endParaRPr lang="en-US" altLang="ja-JP"/>
          </a:p>
        </p:txBody>
      </p:sp>
    </p:spTree>
    <p:extLst>
      <p:ext uri="{BB962C8B-B14F-4D97-AF65-F5344CB8AC3E}">
        <p14:creationId xmlns:p14="http://schemas.microsoft.com/office/powerpoint/2010/main" val="9161541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4" y="0"/>
            <a:ext cx="2946247" cy="49513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592" tIns="45795" rIns="91592" bIns="45795" numCol="1" anchor="ctr" anchorCtr="0" compatLnSpc="1">
            <a:prstTxWarp prst="textNoShape">
              <a:avLst/>
            </a:prstTxWarp>
          </a:bodyPr>
          <a:lstStyle>
            <a:lvl1pPr defTabSz="917378">
              <a:defRPr sz="1100">
                <a:latin typeface="Times New Roman" pitchFamily="18" charset="0"/>
              </a:defRPr>
            </a:lvl1pPr>
          </a:lstStyle>
          <a:p>
            <a:endParaRPr lang="en-US" altLang="ja-JP"/>
          </a:p>
        </p:txBody>
      </p:sp>
      <p:sp>
        <p:nvSpPr>
          <p:cNvPr id="6147" name="Rectangle 3"/>
          <p:cNvSpPr>
            <a:spLocks noGrp="1" noChangeArrowheads="1"/>
          </p:cNvSpPr>
          <p:nvPr>
            <p:ph type="dt" idx="1"/>
          </p:nvPr>
        </p:nvSpPr>
        <p:spPr bwMode="auto">
          <a:xfrm>
            <a:off x="3851433" y="0"/>
            <a:ext cx="2946247" cy="49513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592" tIns="45795" rIns="91592" bIns="45795" numCol="1" anchor="ctr" anchorCtr="0" compatLnSpc="1">
            <a:prstTxWarp prst="textNoShape">
              <a:avLst/>
            </a:prstTxWarp>
          </a:bodyPr>
          <a:lstStyle>
            <a:lvl1pPr algn="r" defTabSz="917378">
              <a:defRPr sz="1100">
                <a:latin typeface="Times New Roman" pitchFamily="18" charset="0"/>
              </a:defRPr>
            </a:lvl1pPr>
          </a:lstStyle>
          <a:p>
            <a:endParaRPr lang="en-US" altLang="ja-JP"/>
          </a:p>
        </p:txBody>
      </p:sp>
      <p:sp>
        <p:nvSpPr>
          <p:cNvPr id="6148" name="Rectangle 4"/>
          <p:cNvSpPr>
            <a:spLocks noGrp="1" noRot="1" noChangeAspect="1" noChangeArrowheads="1" noTextEdit="1"/>
          </p:cNvSpPr>
          <p:nvPr>
            <p:ph type="sldImg" idx="2"/>
          </p:nvPr>
        </p:nvSpPr>
        <p:spPr bwMode="auto">
          <a:xfrm>
            <a:off x="711200" y="744538"/>
            <a:ext cx="5378450"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6149" name="Rectangle 5"/>
          <p:cNvSpPr>
            <a:spLocks noGrp="1" noChangeArrowheads="1"/>
          </p:cNvSpPr>
          <p:nvPr>
            <p:ph type="body" sz="quarter" idx="3"/>
          </p:nvPr>
        </p:nvSpPr>
        <p:spPr bwMode="auto">
          <a:xfrm>
            <a:off x="906789" y="4713361"/>
            <a:ext cx="4984107" cy="446898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592" tIns="45795" rIns="91592" bIns="45795" numCol="1" anchor="ctr"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150" name="Rectangle 6"/>
          <p:cNvSpPr>
            <a:spLocks noGrp="1" noChangeArrowheads="1"/>
          </p:cNvSpPr>
          <p:nvPr>
            <p:ph type="ftr" sz="quarter" idx="4"/>
          </p:nvPr>
        </p:nvSpPr>
        <p:spPr bwMode="auto">
          <a:xfrm>
            <a:off x="4" y="9431508"/>
            <a:ext cx="2946247" cy="49513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592" tIns="45795" rIns="91592" bIns="45795" numCol="1" anchor="b" anchorCtr="0" compatLnSpc="1">
            <a:prstTxWarp prst="textNoShape">
              <a:avLst/>
            </a:prstTxWarp>
          </a:bodyPr>
          <a:lstStyle>
            <a:lvl1pPr defTabSz="917378">
              <a:defRPr sz="1100">
                <a:latin typeface="Times New Roman" pitchFamily="18" charset="0"/>
              </a:defRPr>
            </a:lvl1pPr>
          </a:lstStyle>
          <a:p>
            <a:endParaRPr lang="en-US" altLang="ja-JP"/>
          </a:p>
        </p:txBody>
      </p:sp>
      <p:sp>
        <p:nvSpPr>
          <p:cNvPr id="6151" name="Rectangle 7"/>
          <p:cNvSpPr>
            <a:spLocks noGrp="1" noChangeArrowheads="1"/>
          </p:cNvSpPr>
          <p:nvPr>
            <p:ph type="sldNum" sz="quarter" idx="5"/>
          </p:nvPr>
        </p:nvSpPr>
        <p:spPr bwMode="auto">
          <a:xfrm>
            <a:off x="3851433" y="9431508"/>
            <a:ext cx="2946247" cy="49513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592" tIns="45795" rIns="91592" bIns="45795" numCol="1" anchor="b" anchorCtr="0" compatLnSpc="1">
            <a:prstTxWarp prst="textNoShape">
              <a:avLst/>
            </a:prstTxWarp>
          </a:bodyPr>
          <a:lstStyle>
            <a:lvl1pPr algn="r" defTabSz="917378">
              <a:defRPr sz="1100">
                <a:latin typeface="Times New Roman" pitchFamily="18" charset="0"/>
              </a:defRPr>
            </a:lvl1pPr>
          </a:lstStyle>
          <a:p>
            <a:fld id="{686D6E00-0F62-4B93-946A-D3C2B941BC77}" type="slidenum">
              <a:rPr lang="en-US" altLang="ja-JP"/>
              <a:pPr/>
              <a:t>‹#›</a:t>
            </a:fld>
            <a:endParaRPr lang="en-US" altLang="ja-JP"/>
          </a:p>
        </p:txBody>
      </p:sp>
    </p:spTree>
    <p:extLst>
      <p:ext uri="{BB962C8B-B14F-4D97-AF65-F5344CB8AC3E}">
        <p14:creationId xmlns:p14="http://schemas.microsoft.com/office/powerpoint/2010/main" val="269924068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kumimoji="1" sz="1200" kern="1200">
        <a:solidFill>
          <a:schemeClr val="tx1"/>
        </a:solidFill>
        <a:latin typeface="Times New Roman" pitchFamily="18" charset="0"/>
        <a:ea typeface="ＭＳ Ｐ明朝" charset="-128"/>
        <a:cs typeface="+mn-cs"/>
      </a:defRPr>
    </a:lvl1pPr>
    <a:lvl2pPr marL="457200" algn="l" rtl="0" fontAlgn="base">
      <a:spcBef>
        <a:spcPct val="30000"/>
      </a:spcBef>
      <a:spcAft>
        <a:spcPct val="0"/>
      </a:spcAft>
      <a:defRPr kumimoji="1" sz="1200" kern="1200">
        <a:solidFill>
          <a:schemeClr val="tx1"/>
        </a:solidFill>
        <a:latin typeface="Times New Roman" pitchFamily="18" charset="0"/>
        <a:ea typeface="ＭＳ Ｐ明朝" charset="-128"/>
        <a:cs typeface="+mn-cs"/>
      </a:defRPr>
    </a:lvl2pPr>
    <a:lvl3pPr marL="914400" algn="l" rtl="0" fontAlgn="base">
      <a:spcBef>
        <a:spcPct val="30000"/>
      </a:spcBef>
      <a:spcAft>
        <a:spcPct val="0"/>
      </a:spcAft>
      <a:defRPr kumimoji="1" sz="1200" kern="1200">
        <a:solidFill>
          <a:schemeClr val="tx1"/>
        </a:solidFill>
        <a:latin typeface="Times New Roman" pitchFamily="18" charset="0"/>
        <a:ea typeface="ＭＳ Ｐ明朝" charset="-128"/>
        <a:cs typeface="+mn-cs"/>
      </a:defRPr>
    </a:lvl3pPr>
    <a:lvl4pPr marL="1371600" algn="l" rtl="0" fontAlgn="base">
      <a:spcBef>
        <a:spcPct val="30000"/>
      </a:spcBef>
      <a:spcAft>
        <a:spcPct val="0"/>
      </a:spcAft>
      <a:defRPr kumimoji="1" sz="1200" kern="1200">
        <a:solidFill>
          <a:schemeClr val="tx1"/>
        </a:solidFill>
        <a:latin typeface="Times New Roman" pitchFamily="18" charset="0"/>
        <a:ea typeface="ＭＳ Ｐ明朝" charset="-128"/>
        <a:cs typeface="+mn-cs"/>
      </a:defRPr>
    </a:lvl4pPr>
    <a:lvl5pPr marL="1828800" algn="l" rtl="0" fontAlgn="base">
      <a:spcBef>
        <a:spcPct val="30000"/>
      </a:spcBef>
      <a:spcAft>
        <a:spcPct val="0"/>
      </a:spcAft>
      <a:defRPr kumimoji="1" sz="1200" kern="1200">
        <a:solidFill>
          <a:schemeClr val="tx1"/>
        </a:solidFill>
        <a:latin typeface="Times New Roman" pitchFamily="18" charset="0"/>
        <a:ea typeface="ＭＳ Ｐ明朝"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kaggle.com/datasets/rush4ratio/video-game-sales-with-ratings"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chemeClr val="tx1">
                    <a:lumMod val="50000"/>
                  </a:schemeClr>
                </a:solidFill>
                <a:hlinkClick r:id="rId3">
                  <a:extLst>
                    <a:ext uri="{A12FA001-AC4F-418D-AE19-62706E023703}">
                      <ahyp:hlinkClr xmlns:ahyp="http://schemas.microsoft.com/office/drawing/2018/hyperlinkcolor" val="tx"/>
                    </a:ext>
                  </a:extLst>
                </a:hlinkClick>
              </a:rPr>
              <a:t>Video Game Sales with Ratings | Kaggle</a:t>
            </a:r>
            <a:endParaRPr lang="en-US">
              <a:solidFill>
                <a:schemeClr val="tx1">
                  <a:lumMod val="50000"/>
                </a:schemeClr>
              </a:solidFill>
            </a:endParaRPr>
          </a:p>
          <a:p>
            <a:endParaRPr lang="en-US">
              <a:solidFill>
                <a:schemeClr val="tx1">
                  <a:lumMod val="50000"/>
                </a:schemeClr>
              </a:solidFill>
            </a:endParaRPr>
          </a:p>
        </p:txBody>
      </p:sp>
      <p:sp>
        <p:nvSpPr>
          <p:cNvPr id="4" name="Slide Number Placeholder 3"/>
          <p:cNvSpPr>
            <a:spLocks noGrp="1"/>
          </p:cNvSpPr>
          <p:nvPr>
            <p:ph type="sldNum" sz="quarter" idx="5"/>
          </p:nvPr>
        </p:nvSpPr>
        <p:spPr/>
        <p:txBody>
          <a:bodyPr/>
          <a:lstStyle/>
          <a:p>
            <a:fld id="{686D6E00-0F62-4B93-946A-D3C2B941BC77}" type="slidenum">
              <a:rPr lang="en-US" altLang="ja-JP" smtClean="0"/>
              <a:pPr/>
              <a:t>1</a:t>
            </a:fld>
            <a:endParaRPr lang="en-US" altLang="ja-JP"/>
          </a:p>
        </p:txBody>
      </p:sp>
    </p:spTree>
    <p:extLst>
      <p:ext uri="{BB962C8B-B14F-4D97-AF65-F5344CB8AC3E}">
        <p14:creationId xmlns:p14="http://schemas.microsoft.com/office/powerpoint/2010/main" val="1407100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RoBERTa</a:t>
            </a:r>
            <a:r>
              <a:rPr lang="en-US"/>
              <a:t> outperforms VADER due to its </a:t>
            </a:r>
            <a:r>
              <a:rPr lang="en-US" b="0" i="0">
                <a:solidFill>
                  <a:srgbClr val="374151"/>
                </a:solidFill>
                <a:effectLst/>
                <a:latin typeface="Söhne"/>
              </a:rPr>
              <a:t>ability to capture contextual nuances in language, resulting in superior overall performance and accuracy</a:t>
            </a:r>
            <a:endParaRPr lang="en-US"/>
          </a:p>
        </p:txBody>
      </p:sp>
      <p:sp>
        <p:nvSpPr>
          <p:cNvPr id="4" name="Slide Number Placeholder 3"/>
          <p:cNvSpPr>
            <a:spLocks noGrp="1"/>
          </p:cNvSpPr>
          <p:nvPr>
            <p:ph type="sldNum" sz="quarter" idx="5"/>
          </p:nvPr>
        </p:nvSpPr>
        <p:spPr/>
        <p:txBody>
          <a:bodyPr/>
          <a:lstStyle/>
          <a:p>
            <a:fld id="{686D6E00-0F62-4B93-946A-D3C2B941BC77}" type="slidenum">
              <a:rPr lang="en-US" altLang="ja-JP" smtClean="0"/>
              <a:pPr/>
              <a:t>9</a:t>
            </a:fld>
            <a:endParaRPr lang="en-US" altLang="ja-JP"/>
          </a:p>
        </p:txBody>
      </p:sp>
    </p:spTree>
    <p:extLst>
      <p:ext uri="{BB962C8B-B14F-4D97-AF65-F5344CB8AC3E}">
        <p14:creationId xmlns:p14="http://schemas.microsoft.com/office/powerpoint/2010/main" val="13845741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目次">
    <p:spTree>
      <p:nvGrpSpPr>
        <p:cNvPr id="1" name=""/>
        <p:cNvGrpSpPr/>
        <p:nvPr/>
      </p:nvGrpSpPr>
      <p:grpSpPr>
        <a:xfrm>
          <a:off x="0" y="0"/>
          <a:ext cx="0" cy="0"/>
          <a:chOff x="0" y="0"/>
          <a:chExt cx="0" cy="0"/>
        </a:xfrm>
      </p:grpSpPr>
      <p:sp>
        <p:nvSpPr>
          <p:cNvPr id="6" name="Rectangle 6"/>
          <p:cNvSpPr>
            <a:spLocks noChangeArrowheads="1"/>
          </p:cNvSpPr>
          <p:nvPr userDrawn="1"/>
        </p:nvSpPr>
        <p:spPr bwMode="gray">
          <a:xfrm>
            <a:off x="1" y="0"/>
            <a:ext cx="1511928" cy="6858000"/>
          </a:xfrm>
          <a:prstGeom prst="rect">
            <a:avLst/>
          </a:prstGeom>
          <a:solidFill>
            <a:srgbClr val="202C5C"/>
          </a:solidFill>
          <a:ln>
            <a:noFill/>
          </a:ln>
          <a:effectLst/>
        </p:spPr>
        <p:txBody>
          <a:bodyPr wrap="square" lIns="0" tIns="0" rIns="0" bIns="0" anchor="ctr">
            <a:noAutofit/>
          </a:bodyPr>
          <a:lstStyle/>
          <a:p>
            <a:endParaRPr lang="ja-JP" altLang="en-US"/>
          </a:p>
        </p:txBody>
      </p:sp>
      <p:sp>
        <p:nvSpPr>
          <p:cNvPr id="2" name="タイトル 1"/>
          <p:cNvSpPr>
            <a:spLocks noGrp="1"/>
          </p:cNvSpPr>
          <p:nvPr>
            <p:ph type="title" hasCustomPrompt="1"/>
          </p:nvPr>
        </p:nvSpPr>
        <p:spPr bwMode="white">
          <a:xfrm>
            <a:off x="457200" y="151200"/>
            <a:ext cx="8991600" cy="396000"/>
          </a:xfrm>
          <a:prstGeom prst="rect">
            <a:avLst/>
          </a:prstGeom>
        </p:spPr>
        <p:txBody>
          <a:bodyPr/>
          <a:lstStyle>
            <a:lvl1pPr>
              <a:defRPr>
                <a:solidFill>
                  <a:schemeClr val="bg1"/>
                </a:solidFill>
              </a:defRPr>
            </a:lvl1pPr>
          </a:lstStyle>
          <a:p>
            <a:r>
              <a:rPr kumimoji="1" lang="en-US" altLang="ja-JP"/>
              <a:t>TEXT</a:t>
            </a:r>
            <a:endParaRPr kumimoji="1" lang="ja-JP" altLang="en-US"/>
          </a:p>
        </p:txBody>
      </p:sp>
    </p:spTree>
    <p:extLst>
      <p:ext uri="{BB962C8B-B14F-4D97-AF65-F5344CB8AC3E}">
        <p14:creationId xmlns:p14="http://schemas.microsoft.com/office/powerpoint/2010/main" val="7598980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extLst>
              <p:ext uri="{D42A27DB-BD31-4B8C-83A1-F6EECF244321}">
                <p14:modId xmlns:p14="http://schemas.microsoft.com/office/powerpoint/2010/main" val="3663961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3" name="オブジェクト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Line 5"/>
          <p:cNvSpPr>
            <a:spLocks noChangeShapeType="1"/>
          </p:cNvSpPr>
          <p:nvPr userDrawn="1"/>
        </p:nvSpPr>
        <p:spPr bwMode="gray">
          <a:xfrm>
            <a:off x="0" y="620713"/>
            <a:ext cx="9906000" cy="0"/>
          </a:xfrm>
          <a:prstGeom prst="line">
            <a:avLst/>
          </a:prstGeom>
          <a:noFill/>
          <a:ln w="38100">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lvl="0" defTabSz="914400" eaLnBrk="1" latinLnBrk="0" hangingPunct="1"/>
            <a:endParaRPr lang="ja-JP" altLang="en-US" sz="1800">
              <a:latin typeface="+mn-lt"/>
              <a:ea typeface="+mn-ea"/>
            </a:endParaRPr>
          </a:p>
        </p:txBody>
      </p:sp>
      <p:sp>
        <p:nvSpPr>
          <p:cNvPr id="2" name="タイトル 1"/>
          <p:cNvSpPr>
            <a:spLocks noGrp="1"/>
          </p:cNvSpPr>
          <p:nvPr>
            <p:ph type="title" hasCustomPrompt="1"/>
          </p:nvPr>
        </p:nvSpPr>
        <p:spPr/>
        <p:txBody>
          <a:bodyPr/>
          <a:lstStyle>
            <a:lvl1pPr>
              <a:defRPr>
                <a:solidFill>
                  <a:srgbClr val="202C5C"/>
                </a:solidFill>
              </a:defRPr>
            </a:lvl1pPr>
          </a:lstStyle>
          <a:p>
            <a:r>
              <a:rPr kumimoji="1" lang="ja-JP" altLang="en-US"/>
              <a:t>マスタータイトルの書式設定</a:t>
            </a:r>
          </a:p>
        </p:txBody>
      </p:sp>
    </p:spTree>
    <p:extLst>
      <p:ext uri="{BB962C8B-B14F-4D97-AF65-F5344CB8AC3E}">
        <p14:creationId xmlns:p14="http://schemas.microsoft.com/office/powerpoint/2010/main" val="3751813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表紙">
    <p:spTree>
      <p:nvGrpSpPr>
        <p:cNvPr id="1" name=""/>
        <p:cNvGrpSpPr/>
        <p:nvPr/>
      </p:nvGrpSpPr>
      <p:grpSpPr>
        <a:xfrm>
          <a:off x="0" y="0"/>
          <a:ext cx="0" cy="0"/>
          <a:chOff x="0" y="0"/>
          <a:chExt cx="0" cy="0"/>
        </a:xfrm>
      </p:grpSpPr>
      <p:sp>
        <p:nvSpPr>
          <p:cNvPr id="4" name="角丸四角形 4"/>
          <p:cNvSpPr>
            <a:spLocks noChangeArrowheads="1"/>
          </p:cNvSpPr>
          <p:nvPr userDrawn="1"/>
        </p:nvSpPr>
        <p:spPr bwMode="auto">
          <a:xfrm>
            <a:off x="0" y="6742112"/>
            <a:ext cx="9906000" cy="115888"/>
          </a:xfrm>
          <a:prstGeom prst="roundRect">
            <a:avLst>
              <a:gd name="adj" fmla="val 0"/>
            </a:avLst>
          </a:prstGeom>
          <a:solidFill>
            <a:schemeClr val="tx2"/>
          </a:solidFill>
          <a:ln>
            <a:solidFill>
              <a:schemeClr val="tx2"/>
            </a:solidFill>
          </a:ln>
        </p:spPr>
        <p:txBody>
          <a:bodyPr lIns="0" tIns="0" rIns="0" bIns="0" anchor="ctr"/>
          <a:lstStyle>
            <a:lvl1pPr>
              <a:defRPr kumimoji="1" sz="16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16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16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16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1600">
                <a:solidFill>
                  <a:schemeClr val="tx1"/>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sz="1600">
                <a:solidFill>
                  <a:schemeClr val="tx1"/>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sz="1600">
                <a:solidFill>
                  <a:schemeClr val="tx1"/>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sz="1600">
                <a:solidFill>
                  <a:schemeClr val="tx1"/>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sz="1600">
                <a:solidFill>
                  <a:schemeClr val="tx1"/>
                </a:solidFill>
                <a:latin typeface="ＭＳ Ｐゴシック" panose="020B0600070205080204" pitchFamily="50" charset="-128"/>
                <a:ea typeface="ＭＳ Ｐゴシック" panose="020B0600070205080204" pitchFamily="50" charset="-128"/>
              </a:defRPr>
            </a:lvl9pPr>
          </a:lstStyle>
          <a:p>
            <a:pPr algn="just">
              <a:lnSpc>
                <a:spcPct val="140000"/>
              </a:lnSpc>
              <a:spcAft>
                <a:spcPts val="600"/>
              </a:spcAft>
              <a:defRPr/>
            </a:pPr>
            <a:endParaRPr lang="ja-JP" altLang="en-US">
              <a:solidFill>
                <a:srgbClr val="4D4D4D"/>
              </a:solidFill>
              <a:latin typeface="メイリオ" panose="020B0604030504040204" pitchFamily="50" charset="-128"/>
            </a:endParaRPr>
          </a:p>
        </p:txBody>
      </p:sp>
      <p:sp>
        <p:nvSpPr>
          <p:cNvPr id="8" name="タイトル 1"/>
          <p:cNvSpPr>
            <a:spLocks noGrp="1"/>
          </p:cNvSpPr>
          <p:nvPr>
            <p:ph type="ctrTitle"/>
          </p:nvPr>
        </p:nvSpPr>
        <p:spPr>
          <a:xfrm>
            <a:off x="812799" y="3178914"/>
            <a:ext cx="8280400" cy="533411"/>
          </a:xfrm>
          <a:prstGeom prst="rect">
            <a:avLst/>
          </a:prstGeom>
        </p:spPr>
        <p:txBody>
          <a:bodyPr tIns="36000" anchor="t">
            <a:spAutoFit/>
          </a:bodyPr>
          <a:lstStyle>
            <a:lvl1pPr algn="l">
              <a:lnSpc>
                <a:spcPct val="110000"/>
              </a:lnSpc>
              <a:defRPr sz="3200" b="1">
                <a:solidFill>
                  <a:schemeClr val="tx2"/>
                </a:solidFill>
                <a:latin typeface="+mn-lt"/>
                <a:ea typeface="+mn-ea"/>
              </a:defRPr>
            </a:lvl1pPr>
          </a:lstStyle>
          <a:p>
            <a:r>
              <a:rPr lang="ja-JP" altLang="en-US"/>
              <a:t>マスター タイトルの書式設定</a:t>
            </a:r>
          </a:p>
        </p:txBody>
      </p:sp>
      <p:sp>
        <p:nvSpPr>
          <p:cNvPr id="5" name="テキスト プレースホルダー 4"/>
          <p:cNvSpPr>
            <a:spLocks noGrp="1"/>
          </p:cNvSpPr>
          <p:nvPr>
            <p:ph type="body" sz="quarter" idx="10"/>
          </p:nvPr>
        </p:nvSpPr>
        <p:spPr>
          <a:xfrm>
            <a:off x="812799" y="2547825"/>
            <a:ext cx="7235826" cy="405683"/>
          </a:xfrm>
        </p:spPr>
        <p:txBody>
          <a:bodyPr lIns="0" tIns="36000" rIns="0" bIns="0">
            <a:spAutoFit/>
          </a:bodyPr>
          <a:lstStyle>
            <a:lvl1pPr>
              <a:defRPr kumimoji="1" lang="ja-JP" altLang="en-US" sz="2400" b="1" kern="1200" noProof="0" smtClean="0">
                <a:solidFill>
                  <a:schemeClr val="tx2"/>
                </a:solidFill>
                <a:latin typeface="+mn-lt"/>
                <a:ea typeface="+mn-ea"/>
                <a:cs typeface="メイリオ" pitchFamily="50" charset="-128"/>
              </a:defRPr>
            </a:lvl1pPr>
            <a:lvl2pPr>
              <a:defRPr sz="2400"/>
            </a:lvl2pPr>
            <a:lvl3pPr>
              <a:defRPr sz="2400"/>
            </a:lvl3pPr>
            <a:lvl4pPr>
              <a:defRPr sz="2400"/>
            </a:lvl4pPr>
            <a:lvl5pPr>
              <a:defRPr sz="2400"/>
            </a:lvl5pPr>
          </a:lstStyle>
          <a:p>
            <a:pPr lvl="0"/>
            <a:r>
              <a:rPr lang="ja-JP" altLang="en-US"/>
              <a:t>マスター テキストの書式設定</a:t>
            </a:r>
          </a:p>
        </p:txBody>
      </p:sp>
      <p:sp>
        <p:nvSpPr>
          <p:cNvPr id="19" name="角丸四角形 4">
            <a:extLst>
              <a:ext uri="{FF2B5EF4-FFF2-40B4-BE49-F238E27FC236}">
                <a16:creationId xmlns:a16="http://schemas.microsoft.com/office/drawing/2014/main" id="{2784892C-4B71-4235-89BD-DBFC7C4CBDCF}"/>
              </a:ext>
            </a:extLst>
          </p:cNvPr>
          <p:cNvSpPr>
            <a:spLocks noChangeArrowheads="1"/>
          </p:cNvSpPr>
          <p:nvPr userDrawn="1"/>
        </p:nvSpPr>
        <p:spPr bwMode="auto">
          <a:xfrm>
            <a:off x="0" y="0"/>
            <a:ext cx="9906000" cy="115888"/>
          </a:xfrm>
          <a:prstGeom prst="roundRect">
            <a:avLst>
              <a:gd name="adj" fmla="val 0"/>
            </a:avLst>
          </a:prstGeom>
          <a:solidFill>
            <a:schemeClr val="tx2"/>
          </a:solidFill>
          <a:ln>
            <a:solidFill>
              <a:schemeClr val="tx2"/>
            </a:solidFill>
          </a:ln>
        </p:spPr>
        <p:txBody>
          <a:bodyPr lIns="0" tIns="0" rIns="0" bIns="0" anchor="ctr"/>
          <a:lstStyle>
            <a:lvl1pPr>
              <a:defRPr kumimoji="1" sz="16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16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16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16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1600">
                <a:solidFill>
                  <a:schemeClr val="tx1"/>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sz="1600">
                <a:solidFill>
                  <a:schemeClr val="tx1"/>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sz="1600">
                <a:solidFill>
                  <a:schemeClr val="tx1"/>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sz="1600">
                <a:solidFill>
                  <a:schemeClr val="tx1"/>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sz="1600">
                <a:solidFill>
                  <a:schemeClr val="tx1"/>
                </a:solidFill>
                <a:latin typeface="ＭＳ Ｐゴシック" panose="020B0600070205080204" pitchFamily="50" charset="-128"/>
                <a:ea typeface="ＭＳ Ｐゴシック" panose="020B0600070205080204" pitchFamily="50" charset="-128"/>
              </a:defRPr>
            </a:lvl9pPr>
          </a:lstStyle>
          <a:p>
            <a:pPr algn="just">
              <a:lnSpc>
                <a:spcPct val="140000"/>
              </a:lnSpc>
              <a:spcAft>
                <a:spcPts val="600"/>
              </a:spcAft>
              <a:defRPr/>
            </a:pPr>
            <a:endParaRPr lang="ja-JP" altLang="en-US">
              <a:solidFill>
                <a:srgbClr val="4D4D4D"/>
              </a:solidFill>
              <a:latin typeface="メイリオ" panose="020B0604030504040204" pitchFamily="50" charset="-128"/>
            </a:endParaRPr>
          </a:p>
        </p:txBody>
      </p:sp>
    </p:spTree>
    <p:extLst>
      <p:ext uri="{BB962C8B-B14F-4D97-AF65-F5344CB8AC3E}">
        <p14:creationId xmlns:p14="http://schemas.microsoft.com/office/powerpoint/2010/main" val="14513387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61784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7303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7" imgW="270" imgH="270" progId="TCLayout.ActiveDocument.1">
                  <p:embed/>
                </p:oleObj>
              </mc:Choice>
              <mc:Fallback>
                <p:oleObj name="think-cell スライド" r:id="rId7" imgW="270" imgH="270" progId="TCLayout.ActiveDocument.1">
                  <p:embed/>
                  <p:pic>
                    <p:nvPicPr>
                      <p:cNvPr id="2" name="オブジェクト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762000" y="1143000"/>
            <a:ext cx="84201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72000" rIns="72000" bIns="72000" numCol="1" anchor="t" anchorCtr="0" compatLnSpc="1">
            <a:prstTxWarp prst="textNoShape">
              <a:avLst/>
            </a:prstTxWarp>
          </a:bodyPr>
          <a:lstStyle/>
          <a:p>
            <a:pPr lvl="0"/>
            <a:r>
              <a:rPr lang="ja-JP" altLang="en-US"/>
              <a:t>マスター テキストの書式設定</a:t>
            </a:r>
          </a:p>
          <a:p>
            <a:pPr lvl="1"/>
            <a:r>
              <a:rPr lang="ja-JP" altLang="en-US"/>
              <a:t>第</a:t>
            </a:r>
            <a:r>
              <a:rPr lang="en-US" altLang="ja-JP"/>
              <a:t>2</a:t>
            </a:r>
            <a:r>
              <a:rPr lang="ja-JP" altLang="en-US"/>
              <a:t>レベル</a:t>
            </a:r>
          </a:p>
          <a:p>
            <a:pPr lvl="2"/>
            <a:r>
              <a:rPr lang="ja-JP" altLang="en-US"/>
              <a:t>第</a:t>
            </a:r>
            <a:r>
              <a:rPr lang="en-US" altLang="ja-JP"/>
              <a:t>3</a:t>
            </a:r>
            <a:r>
              <a:rPr lang="ja-JP" altLang="en-US"/>
              <a:t>レベル</a:t>
            </a:r>
          </a:p>
          <a:p>
            <a:pPr lvl="3"/>
            <a:r>
              <a:rPr lang="ja-JP" altLang="en-US"/>
              <a:t>第</a:t>
            </a:r>
            <a:r>
              <a:rPr lang="en-US" altLang="ja-JP"/>
              <a:t>4</a:t>
            </a:r>
            <a:r>
              <a:rPr lang="ja-JP" altLang="en-US"/>
              <a:t>レベル</a:t>
            </a:r>
          </a:p>
          <a:p>
            <a:pPr lvl="4"/>
            <a:r>
              <a:rPr lang="ja-JP" altLang="en-US"/>
              <a:t>第</a:t>
            </a:r>
            <a:r>
              <a:rPr lang="en-US" altLang="ja-JP"/>
              <a:t>5</a:t>
            </a:r>
            <a:r>
              <a:rPr lang="ja-JP" altLang="en-US"/>
              <a:t>レベル</a:t>
            </a:r>
            <a:endParaRPr lang="en-US" altLang="ja-JP"/>
          </a:p>
        </p:txBody>
      </p:sp>
      <p:sp>
        <p:nvSpPr>
          <p:cNvPr id="5" name="テキスト ボックス 4"/>
          <p:cNvSpPr txBox="1"/>
          <p:nvPr userDrawn="1"/>
        </p:nvSpPr>
        <p:spPr>
          <a:xfrm>
            <a:off x="9533614" y="6685130"/>
            <a:ext cx="382632" cy="183503"/>
          </a:xfrm>
          <a:prstGeom prst="rect">
            <a:avLst/>
          </a:prstGeom>
          <a:noFill/>
          <a:ln>
            <a:noFill/>
          </a:ln>
          <a:effectLst/>
        </p:spPr>
        <p:txBody>
          <a:bodyPr vert="horz" wrap="square" lIns="72000" tIns="36000" rIns="72000" bIns="36000" numCol="1" anchor="b" anchorCtr="0" compatLnSpc="1">
            <a:prstTxWarp prst="textNoShape">
              <a:avLst/>
            </a:prstTxWarp>
            <a:spAutoFit/>
          </a:bodyPr>
          <a:lstStyle>
            <a:defPPr>
              <a:defRPr lang="ja-JP"/>
            </a:defPPr>
            <a:lvl1pPr algn="r">
              <a:lnSpc>
                <a:spcPct val="90000"/>
              </a:lnSpc>
              <a:defRPr sz="1000" b="1">
                <a:solidFill>
                  <a:srgbClr val="000000"/>
                </a:solidFill>
                <a:latin typeface="Arial" pitchFamily="34" charset="0"/>
                <a:ea typeface="ＭＳ Ｐゴシック" pitchFamily="50" charset="-128"/>
              </a:defRPr>
            </a:lvl1pPr>
          </a:lstStyle>
          <a:p>
            <a:pPr lvl="0"/>
            <a:fld id="{457CCD3B-3046-4064-9B9F-E77E18CB25C9}" type="slidenum">
              <a:rPr lang="en-US" altLang="ja-JP" sz="800" smtClean="0">
                <a:solidFill>
                  <a:srgbClr val="4D4D4D"/>
                </a:solidFill>
                <a:latin typeface="+mn-ea"/>
                <a:ea typeface="+mn-ea"/>
              </a:rPr>
              <a:t>‹#›</a:t>
            </a:fld>
            <a:endParaRPr lang="ja-JP" altLang="en-US" sz="800">
              <a:solidFill>
                <a:srgbClr val="4D4D4D"/>
              </a:solidFill>
              <a:latin typeface="+mn-ea"/>
              <a:ea typeface="+mn-ea"/>
            </a:endParaRPr>
          </a:p>
        </p:txBody>
      </p:sp>
      <p:sp>
        <p:nvSpPr>
          <p:cNvPr id="10" name="タイトル プレースホルダー 1"/>
          <p:cNvSpPr>
            <a:spLocks noGrp="1"/>
          </p:cNvSpPr>
          <p:nvPr>
            <p:ph type="title"/>
          </p:nvPr>
        </p:nvSpPr>
        <p:spPr>
          <a:xfrm>
            <a:off x="457200" y="152636"/>
            <a:ext cx="8991600" cy="396044"/>
          </a:xfrm>
          <a:prstGeom prst="rect">
            <a:avLst/>
          </a:prstGeom>
        </p:spPr>
        <p:txBody>
          <a:bodyPr vert="horz" lIns="0" tIns="0" rIns="0" bIns="0" rtlCol="0" anchor="b" anchorCtr="0">
            <a:noAutofit/>
          </a:bodyPr>
          <a:lstStyle/>
          <a:p>
            <a:pPr lvl="0" defTabSz="914400" latinLnBrk="0">
              <a:buNone/>
            </a:pPr>
            <a:r>
              <a:rPr kumimoji="1" lang="en-US" altLang="ja-JP"/>
              <a:t>TEXT</a:t>
            </a:r>
            <a:endParaRPr kumimoji="1" lang="ja-JP" altLang="en-US"/>
          </a:p>
        </p:txBody>
      </p:sp>
    </p:spTree>
    <p:extLst>
      <p:ext uri="{BB962C8B-B14F-4D97-AF65-F5344CB8AC3E}">
        <p14:creationId xmlns:p14="http://schemas.microsoft.com/office/powerpoint/2010/main" val="3224782899"/>
      </p:ext>
    </p:extLst>
  </p:cSld>
  <p:clrMap bg1="lt1" tx1="dk1" bg2="lt2" tx2="dk2" accent1="accent1" accent2="accent2" accent3="accent3" accent4="accent4" accent5="accent5" accent6="accent6" hlink="hlink" folHlink="folHlink"/>
  <p:sldLayoutIdLst>
    <p:sldLayoutId id="2147483682" r:id="rId1"/>
    <p:sldLayoutId id="2147483681" r:id="rId2"/>
    <p:sldLayoutId id="2147483714" r:id="rId3"/>
    <p:sldLayoutId id="2147483704" r:id="rId4"/>
  </p:sldLayoutIdLst>
  <p:hf hdr="0" ftr="0" dt="0"/>
  <p:txStyles>
    <p:titleStyle>
      <a:lvl1pPr algn="l" rtl="0" eaLnBrk="1" fontAlgn="base" hangingPunct="1">
        <a:lnSpc>
          <a:spcPct val="90000"/>
        </a:lnSpc>
        <a:spcBef>
          <a:spcPct val="0"/>
        </a:spcBef>
        <a:spcAft>
          <a:spcPct val="0"/>
        </a:spcAft>
        <a:defRPr kumimoji="1" lang="ja-JP" altLang="en-US" sz="2200" kern="1200" noProof="0" dirty="0">
          <a:solidFill>
            <a:srgbClr val="202C5C"/>
          </a:solidFill>
          <a:latin typeface="+mj-lt"/>
          <a:ea typeface="+mj-ea"/>
          <a:cs typeface="Meiryo UI" panose="020B0604030504040204" pitchFamily="50" charset="-128"/>
        </a:defRPr>
      </a:lvl1pPr>
      <a:lvl2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2pPr>
      <a:lvl3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3pPr>
      <a:lvl4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4pPr>
      <a:lvl5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5pPr>
      <a:lvl6pPr marL="4572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6pPr>
      <a:lvl7pPr marL="9144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7pPr>
      <a:lvl8pPr marL="13716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8pPr>
      <a:lvl9pPr marL="18288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9pPr>
    </p:titleStyle>
    <p:bodyStyle>
      <a:lvl1pPr algn="l" rtl="0" eaLnBrk="1" fontAlgn="base" hangingPunct="1">
        <a:spcBef>
          <a:spcPts val="600"/>
        </a:spcBef>
        <a:spcAft>
          <a:spcPct val="0"/>
        </a:spcAft>
        <a:defRPr kumimoji="1" sz="1600">
          <a:solidFill>
            <a:schemeClr val="tx1"/>
          </a:solidFill>
          <a:latin typeface="+mn-lt"/>
          <a:ea typeface="+mn-ea"/>
          <a:cs typeface="メイリオ" pitchFamily="50" charset="-128"/>
        </a:defRPr>
      </a:lvl1pPr>
      <a:lvl2pPr marL="450850" indent="-196850" algn="l" rtl="0" eaLnBrk="1" fontAlgn="base" hangingPunct="1">
        <a:spcBef>
          <a:spcPts val="600"/>
        </a:spcBef>
        <a:spcAft>
          <a:spcPct val="0"/>
        </a:spcAft>
        <a:buSzPct val="90000"/>
        <a:buFont typeface="Arial" panose="020B0604020202020204" pitchFamily="34" charset="0"/>
        <a:buChar char="●"/>
        <a:defRPr kumimoji="1" sz="1600">
          <a:solidFill>
            <a:schemeClr val="tx1"/>
          </a:solidFill>
          <a:latin typeface="+mn-lt"/>
          <a:ea typeface="+mn-ea"/>
          <a:cs typeface="メイリオ" pitchFamily="50" charset="-128"/>
        </a:defRPr>
      </a:lvl2pPr>
      <a:lvl3pPr marL="846138" indent="-179388" algn="l" rtl="0" eaLnBrk="1" fontAlgn="base" hangingPunct="1">
        <a:spcBef>
          <a:spcPts val="600"/>
        </a:spcBef>
        <a:spcAft>
          <a:spcPct val="0"/>
        </a:spcAft>
        <a:buSzPct val="90000"/>
        <a:buChar char="–"/>
        <a:defRPr kumimoji="1" sz="1600">
          <a:solidFill>
            <a:schemeClr val="tx1"/>
          </a:solidFill>
          <a:latin typeface="+mn-lt"/>
          <a:ea typeface="+mn-ea"/>
          <a:cs typeface="メイリオ" pitchFamily="50" charset="-128"/>
        </a:defRPr>
      </a:lvl3pPr>
      <a:lvl4pPr marL="1228725" indent="-158750" algn="l" rtl="0" eaLnBrk="1" fontAlgn="base" hangingPunct="1">
        <a:spcBef>
          <a:spcPts val="600"/>
        </a:spcBef>
        <a:spcAft>
          <a:spcPct val="0"/>
        </a:spcAft>
        <a:buSzPct val="70000"/>
        <a:buFont typeface="Arial" panose="020B0604020202020204" pitchFamily="34" charset="0"/>
        <a:buChar char="○"/>
        <a:defRPr kumimoji="1" sz="1600">
          <a:solidFill>
            <a:schemeClr val="tx1"/>
          </a:solidFill>
          <a:latin typeface="+mn-lt"/>
          <a:ea typeface="+mn-ea"/>
          <a:cs typeface="メイリオ" pitchFamily="50" charset="-128"/>
        </a:defRPr>
      </a:lvl4pPr>
      <a:lvl5pPr marL="1617663" indent="-176213" algn="l" rtl="0" eaLnBrk="1" fontAlgn="base" hangingPunct="1">
        <a:spcBef>
          <a:spcPts val="600"/>
        </a:spcBef>
        <a:spcAft>
          <a:spcPct val="0"/>
        </a:spcAft>
        <a:buSzPct val="70000"/>
        <a:buChar char="–"/>
        <a:defRPr kumimoji="1" sz="1600">
          <a:solidFill>
            <a:schemeClr val="tx1"/>
          </a:solidFill>
          <a:latin typeface="+mn-lt"/>
          <a:ea typeface="+mn-ea"/>
          <a:cs typeface="メイリオ" pitchFamily="50" charset="-128"/>
        </a:defRPr>
      </a:lvl5pPr>
      <a:lvl6pPr marL="2038350" indent="0" algn="l" rtl="0" eaLnBrk="1" fontAlgn="base" hangingPunct="1">
        <a:spcBef>
          <a:spcPct val="30000"/>
        </a:spcBef>
        <a:spcAft>
          <a:spcPct val="0"/>
        </a:spcAft>
        <a:buSzPct val="70000"/>
        <a:buNone/>
        <a:defRPr kumimoji="1">
          <a:solidFill>
            <a:schemeClr val="tx1"/>
          </a:solidFill>
          <a:latin typeface="+mn-lt"/>
          <a:ea typeface="+mn-ea"/>
        </a:defRPr>
      </a:lvl6pPr>
      <a:lvl7pPr marL="2724150" indent="-228600" algn="l" rtl="0" eaLnBrk="1" fontAlgn="base" hangingPunct="1">
        <a:spcBef>
          <a:spcPct val="30000"/>
        </a:spcBef>
        <a:spcAft>
          <a:spcPct val="0"/>
        </a:spcAft>
        <a:buSzPct val="70000"/>
        <a:buChar char="–"/>
        <a:defRPr kumimoji="1">
          <a:solidFill>
            <a:schemeClr val="tx1"/>
          </a:solidFill>
          <a:latin typeface="+mn-lt"/>
          <a:ea typeface="+mn-ea"/>
        </a:defRPr>
      </a:lvl7pPr>
      <a:lvl8pPr marL="3181350" indent="-228600" algn="l" rtl="0" eaLnBrk="1" fontAlgn="base" hangingPunct="1">
        <a:spcBef>
          <a:spcPct val="30000"/>
        </a:spcBef>
        <a:spcAft>
          <a:spcPct val="0"/>
        </a:spcAft>
        <a:buSzPct val="70000"/>
        <a:buChar char="–"/>
        <a:defRPr kumimoji="1">
          <a:solidFill>
            <a:schemeClr val="tx1"/>
          </a:solidFill>
          <a:latin typeface="+mn-lt"/>
          <a:ea typeface="+mn-ea"/>
        </a:defRPr>
      </a:lvl8pPr>
      <a:lvl9pPr marL="3638550" indent="-228600" algn="l" rtl="0" eaLnBrk="1" fontAlgn="base" hangingPunct="1">
        <a:spcBef>
          <a:spcPct val="30000"/>
        </a:spcBef>
        <a:spcAft>
          <a:spcPct val="0"/>
        </a:spcAft>
        <a:buSzPct val="70000"/>
        <a:buChar char="–"/>
        <a:defRPr kumimoji="1">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users/abccastro/projects/1" TargetMode="External"/><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s://github.com/abccastro/Movie-Sentiment-Analysis"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hyperlink" Target="https://teyuto.com/blog/top-10-ott-video-streaming-services-2023#:~:text=Which%20ott%20platform%20has%20the,200%20million%20subscribers%20in%202023" TargetMode="External"/><Relationship Id="rId2" Type="http://schemas.openxmlformats.org/officeDocument/2006/relationships/hyperlink" Target="https://www.insidermonkey.com/blog/5-biggest-movie-production-companies-in-the-world-1085847/?singlepage=1" TargetMode="External"/><Relationship Id="rId1" Type="http://schemas.openxmlformats.org/officeDocument/2006/relationships/slideLayout" Target="../slideLayouts/slideLayout2.xml"/><Relationship Id="rId6" Type="http://schemas.openxmlformats.org/officeDocument/2006/relationships/hyperlink" Target="https://www.kaggle.com/datasets/raynardj/imdb-vision-and-nlp/data" TargetMode="External"/><Relationship Id="rId5" Type="http://schemas.openxmlformats.org/officeDocument/2006/relationships/hyperlink" Target="https://www.kaggle.com/datasets/rounakbanik/the-movies-dataset" TargetMode="External"/><Relationship Id="rId4" Type="http://schemas.openxmlformats.org/officeDocument/2006/relationships/hyperlink" Target="https://www.storybiz.tech/entertainment/business-model-film-television/"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45230505-309A-D65C-3DA2-9043C215C9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43040" y="5166243"/>
            <a:ext cx="2733255" cy="80095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9C9ACA2-A3AE-D6EF-CC33-B149455093C7}"/>
              </a:ext>
            </a:extLst>
          </p:cNvPr>
          <p:cNvSpPr txBox="1"/>
          <p:nvPr/>
        </p:nvSpPr>
        <p:spPr>
          <a:xfrm>
            <a:off x="770819" y="2179306"/>
            <a:ext cx="1783080" cy="282573"/>
          </a:xfrm>
          <a:prstGeom prst="rect">
            <a:avLst/>
          </a:prstGeom>
          <a:noFill/>
        </p:spPr>
        <p:txBody>
          <a:bodyPr wrap="square" lIns="36000" tIns="36000" rIns="36000" bIns="0" rtlCol="0">
            <a:spAutoFit/>
          </a:bodyPr>
          <a:lstStyle/>
          <a:p>
            <a:r>
              <a:rPr lang="en-US" b="1">
                <a:solidFill>
                  <a:srgbClr val="4A4A4A"/>
                </a:solidFill>
                <a:latin typeface="Quattrocento Sans" panose="020B0502050000020003" pitchFamily="34" charset="0"/>
              </a:rPr>
              <a:t>November</a:t>
            </a:r>
            <a:r>
              <a:rPr lang="en-US" b="1" i="0" u="none">
                <a:solidFill>
                  <a:srgbClr val="4A4A4A"/>
                </a:solidFill>
                <a:effectLst/>
                <a:latin typeface="Quattrocento Sans" panose="020B0502050000020003" pitchFamily="34" charset="0"/>
              </a:rPr>
              <a:t> 14, 2023</a:t>
            </a:r>
            <a:endParaRPr lang="en-US" b="1"/>
          </a:p>
        </p:txBody>
      </p:sp>
      <p:sp>
        <p:nvSpPr>
          <p:cNvPr id="7" name="Text Placeholder 1">
            <a:extLst>
              <a:ext uri="{FF2B5EF4-FFF2-40B4-BE49-F238E27FC236}">
                <a16:creationId xmlns:a16="http://schemas.microsoft.com/office/drawing/2014/main" id="{A29DD16F-C434-F01B-B19D-AAD93C5C2D57}"/>
              </a:ext>
            </a:extLst>
          </p:cNvPr>
          <p:cNvSpPr txBox="1">
            <a:spLocks/>
          </p:cNvSpPr>
          <p:nvPr/>
        </p:nvSpPr>
        <p:spPr bwMode="auto">
          <a:xfrm>
            <a:off x="770819" y="615363"/>
            <a:ext cx="8194042" cy="1467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000" rIns="0" bIns="0" numCol="1" anchor="t" anchorCtr="0" compatLnSpc="1">
            <a:prstTxWarp prst="textNoShape">
              <a:avLst/>
            </a:prstTxWarp>
            <a:spAutoFit/>
          </a:bodyPr>
          <a:lstStyle>
            <a:lvl1pPr algn="l" rtl="0" eaLnBrk="1" fontAlgn="base" hangingPunct="1">
              <a:spcBef>
                <a:spcPts val="600"/>
              </a:spcBef>
              <a:spcAft>
                <a:spcPct val="0"/>
              </a:spcAft>
              <a:defRPr kumimoji="1" lang="ja-JP" altLang="en-US" sz="2400" b="1" kern="1200" noProof="0" smtClean="0">
                <a:solidFill>
                  <a:schemeClr val="tx2"/>
                </a:solidFill>
                <a:latin typeface="+mn-lt"/>
                <a:ea typeface="+mn-ea"/>
                <a:cs typeface="メイリオ" pitchFamily="50" charset="-128"/>
              </a:defRPr>
            </a:lvl1pPr>
            <a:lvl2pPr marL="450850" indent="-196850" algn="l" rtl="0" eaLnBrk="1" fontAlgn="base" hangingPunct="1">
              <a:spcBef>
                <a:spcPts val="600"/>
              </a:spcBef>
              <a:spcAft>
                <a:spcPct val="0"/>
              </a:spcAft>
              <a:buSzPct val="90000"/>
              <a:buFont typeface="Arial" panose="020B0604020202020204" pitchFamily="34" charset="0"/>
              <a:buChar char="●"/>
              <a:defRPr kumimoji="1" sz="2400">
                <a:solidFill>
                  <a:schemeClr val="tx1"/>
                </a:solidFill>
                <a:latin typeface="+mn-lt"/>
                <a:ea typeface="+mn-ea"/>
                <a:cs typeface="メイリオ" pitchFamily="50" charset="-128"/>
              </a:defRPr>
            </a:lvl2pPr>
            <a:lvl3pPr marL="846138" indent="-179388" algn="l" rtl="0" eaLnBrk="1" fontAlgn="base" hangingPunct="1">
              <a:spcBef>
                <a:spcPts val="600"/>
              </a:spcBef>
              <a:spcAft>
                <a:spcPct val="0"/>
              </a:spcAft>
              <a:buSzPct val="90000"/>
              <a:buChar char="–"/>
              <a:defRPr kumimoji="1" sz="2400">
                <a:solidFill>
                  <a:schemeClr val="tx1"/>
                </a:solidFill>
                <a:latin typeface="+mn-lt"/>
                <a:ea typeface="+mn-ea"/>
                <a:cs typeface="メイリオ" pitchFamily="50" charset="-128"/>
              </a:defRPr>
            </a:lvl3pPr>
            <a:lvl4pPr marL="1228725" indent="-158750" algn="l" rtl="0" eaLnBrk="1" fontAlgn="base" hangingPunct="1">
              <a:spcBef>
                <a:spcPts val="600"/>
              </a:spcBef>
              <a:spcAft>
                <a:spcPct val="0"/>
              </a:spcAft>
              <a:buSzPct val="70000"/>
              <a:buFont typeface="Arial" panose="020B0604020202020204" pitchFamily="34" charset="0"/>
              <a:buChar char="○"/>
              <a:defRPr kumimoji="1" sz="2400">
                <a:solidFill>
                  <a:schemeClr val="tx1"/>
                </a:solidFill>
                <a:latin typeface="+mn-lt"/>
                <a:ea typeface="+mn-ea"/>
                <a:cs typeface="メイリオ" pitchFamily="50" charset="-128"/>
              </a:defRPr>
            </a:lvl4pPr>
            <a:lvl5pPr marL="1617663" indent="-176213" algn="l" rtl="0" eaLnBrk="1" fontAlgn="base" hangingPunct="1">
              <a:spcBef>
                <a:spcPts val="600"/>
              </a:spcBef>
              <a:spcAft>
                <a:spcPct val="0"/>
              </a:spcAft>
              <a:buSzPct val="70000"/>
              <a:buChar char="–"/>
              <a:defRPr kumimoji="1" sz="2400">
                <a:solidFill>
                  <a:schemeClr val="tx1"/>
                </a:solidFill>
                <a:latin typeface="+mn-lt"/>
                <a:ea typeface="+mn-ea"/>
                <a:cs typeface="メイリオ" pitchFamily="50" charset="-128"/>
              </a:defRPr>
            </a:lvl5pPr>
            <a:lvl6pPr marL="2038350" indent="0" algn="l" rtl="0" eaLnBrk="1" fontAlgn="base" hangingPunct="1">
              <a:spcBef>
                <a:spcPct val="30000"/>
              </a:spcBef>
              <a:spcAft>
                <a:spcPct val="0"/>
              </a:spcAft>
              <a:buSzPct val="70000"/>
              <a:buNone/>
              <a:defRPr kumimoji="1">
                <a:solidFill>
                  <a:schemeClr val="tx1"/>
                </a:solidFill>
                <a:latin typeface="+mn-lt"/>
                <a:ea typeface="+mn-ea"/>
              </a:defRPr>
            </a:lvl6pPr>
            <a:lvl7pPr marL="2724150" indent="-228600" algn="l" rtl="0" eaLnBrk="1" fontAlgn="base" hangingPunct="1">
              <a:spcBef>
                <a:spcPct val="30000"/>
              </a:spcBef>
              <a:spcAft>
                <a:spcPct val="0"/>
              </a:spcAft>
              <a:buSzPct val="70000"/>
              <a:buChar char="–"/>
              <a:defRPr kumimoji="1">
                <a:solidFill>
                  <a:schemeClr val="tx1"/>
                </a:solidFill>
                <a:latin typeface="+mn-lt"/>
                <a:ea typeface="+mn-ea"/>
              </a:defRPr>
            </a:lvl7pPr>
            <a:lvl8pPr marL="3181350" indent="-228600" algn="l" rtl="0" eaLnBrk="1" fontAlgn="base" hangingPunct="1">
              <a:spcBef>
                <a:spcPct val="30000"/>
              </a:spcBef>
              <a:spcAft>
                <a:spcPct val="0"/>
              </a:spcAft>
              <a:buSzPct val="70000"/>
              <a:buChar char="–"/>
              <a:defRPr kumimoji="1">
                <a:solidFill>
                  <a:schemeClr val="tx1"/>
                </a:solidFill>
                <a:latin typeface="+mn-lt"/>
                <a:ea typeface="+mn-ea"/>
              </a:defRPr>
            </a:lvl8pPr>
            <a:lvl9pPr marL="3638550" indent="-228600" algn="l" rtl="0" eaLnBrk="1" fontAlgn="base" hangingPunct="1">
              <a:spcBef>
                <a:spcPct val="30000"/>
              </a:spcBef>
              <a:spcAft>
                <a:spcPct val="0"/>
              </a:spcAft>
              <a:buSzPct val="70000"/>
              <a:buChar char="–"/>
              <a:defRPr kumimoji="1">
                <a:solidFill>
                  <a:schemeClr val="tx1"/>
                </a:solidFill>
                <a:latin typeface="+mn-lt"/>
                <a:ea typeface="+mn-ea"/>
              </a:defRPr>
            </a:lvl9pPr>
          </a:lstStyle>
          <a:p>
            <a:r>
              <a:rPr lang="en-US"/>
              <a:t>AML 2304 – Natural Language Processing</a:t>
            </a:r>
          </a:p>
          <a:p>
            <a:r>
              <a:rPr lang="en-US" sz="3500"/>
              <a:t>Movie Sentiment Analysis</a:t>
            </a:r>
          </a:p>
          <a:p>
            <a:r>
              <a:rPr lang="en-US"/>
              <a:t>(Mid Submission)</a:t>
            </a:r>
            <a:endParaRPr lang="en-US" sz="3500"/>
          </a:p>
        </p:txBody>
      </p:sp>
      <p:sp>
        <p:nvSpPr>
          <p:cNvPr id="12" name="タイトル 1">
            <a:extLst>
              <a:ext uri="{FF2B5EF4-FFF2-40B4-BE49-F238E27FC236}">
                <a16:creationId xmlns:a16="http://schemas.microsoft.com/office/drawing/2014/main" id="{04D82B57-FC93-F808-D711-41D7C57716AB}"/>
              </a:ext>
            </a:extLst>
          </p:cNvPr>
          <p:cNvSpPr txBox="1">
            <a:spLocks/>
          </p:cNvSpPr>
          <p:nvPr/>
        </p:nvSpPr>
        <p:spPr>
          <a:xfrm>
            <a:off x="770820" y="3776361"/>
            <a:ext cx="3959224" cy="2761521"/>
          </a:xfrm>
          <a:prstGeom prst="rect">
            <a:avLst/>
          </a:prstGeom>
        </p:spPr>
        <p:txBody>
          <a:bodyPr vert="horz" wrap="square" lIns="0" tIns="36000" rIns="0" bIns="0" rtlCol="0" anchor="ctr" anchorCtr="0">
            <a:spAutoFit/>
          </a:bodyPr>
          <a:lstStyle>
            <a:lvl1pPr algn="l" rtl="0" eaLnBrk="1" fontAlgn="base" hangingPunct="1">
              <a:lnSpc>
                <a:spcPct val="110000"/>
              </a:lnSpc>
              <a:spcBef>
                <a:spcPct val="0"/>
              </a:spcBef>
              <a:spcAft>
                <a:spcPct val="0"/>
              </a:spcAft>
              <a:defRPr kumimoji="1" lang="ja-JP" altLang="en-US" sz="3200" b="1" kern="1200" noProof="0">
                <a:solidFill>
                  <a:schemeClr val="tx2"/>
                </a:solidFill>
                <a:latin typeface="+mn-lt"/>
                <a:ea typeface="+mn-ea"/>
                <a:cs typeface="Meiryo UI" panose="020B0604030504040204" pitchFamily="50" charset="-128"/>
              </a:defRPr>
            </a:lvl1pPr>
            <a:lvl2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2pPr>
            <a:lvl3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3pPr>
            <a:lvl4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4pPr>
            <a:lvl5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5pPr>
            <a:lvl6pPr marL="4572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6pPr>
            <a:lvl7pPr marL="9144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7pPr>
            <a:lvl8pPr marL="13716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8pPr>
            <a:lvl9pPr marL="18288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9pPr>
          </a:lstStyle>
          <a:p>
            <a:r>
              <a:rPr lang="en-US" altLang="ja-JP" sz="1800">
                <a:solidFill>
                  <a:srgbClr val="182044"/>
                </a:solidFill>
                <a:latin typeface="+mj-lt"/>
                <a:ea typeface="+mj-ea"/>
                <a:cs typeface="Arial Bold" panose="020B0704020202020204" pitchFamily="34" charset="0"/>
              </a:rPr>
              <a:t>Submitted by Group 3 :</a:t>
            </a:r>
            <a:endParaRPr lang="en-US" sz="1800" b="0">
              <a:latin typeface="Calibri" panose="020F0502020204030204" pitchFamily="34" charset="0"/>
            </a:endParaRPr>
          </a:p>
          <a:p>
            <a:r>
              <a:rPr lang="en-US" sz="1800" b="0">
                <a:latin typeface="Calibri" panose="020F0502020204030204" pitchFamily="34" charset="0"/>
              </a:rPr>
              <a:t>Abhishek </a:t>
            </a:r>
            <a:r>
              <a:rPr lang="en-US" sz="1800" b="0" err="1">
                <a:latin typeface="Calibri" panose="020F0502020204030204" pitchFamily="34" charset="0"/>
              </a:rPr>
              <a:t>Natani</a:t>
            </a:r>
            <a:endParaRPr lang="en-US" sz="1800" b="0">
              <a:latin typeface="Calibri" panose="020F0502020204030204" pitchFamily="34" charset="0"/>
            </a:endParaRPr>
          </a:p>
          <a:p>
            <a:r>
              <a:rPr lang="en-US" sz="1800" b="0" err="1">
                <a:latin typeface="Calibri" panose="020F0502020204030204" pitchFamily="34" charset="0"/>
              </a:rPr>
              <a:t>Auradee</a:t>
            </a:r>
            <a:r>
              <a:rPr lang="en-US" sz="1800" b="0">
                <a:latin typeface="Calibri" panose="020F0502020204030204" pitchFamily="34" charset="0"/>
              </a:rPr>
              <a:t> Castro</a:t>
            </a:r>
          </a:p>
          <a:p>
            <a:r>
              <a:rPr lang="en-US" sz="1800" b="0">
                <a:latin typeface="Calibri" panose="020F0502020204030204" pitchFamily="34" charset="0"/>
              </a:rPr>
              <a:t>Bhumika Rajendra Babu</a:t>
            </a:r>
            <a:br>
              <a:rPr lang="en-US" sz="1800" b="0">
                <a:latin typeface="Calibri" panose="020F0502020204030204" pitchFamily="34" charset="0"/>
              </a:rPr>
            </a:br>
            <a:r>
              <a:rPr lang="en-US" sz="1800" b="0">
                <a:latin typeface="Calibri" panose="020F0502020204030204" pitchFamily="34" charset="0"/>
              </a:rPr>
              <a:t>Miraj Sinya </a:t>
            </a:r>
            <a:br>
              <a:rPr lang="en-US" sz="1800" b="0">
                <a:latin typeface="Calibri" panose="020F0502020204030204" pitchFamily="34" charset="0"/>
              </a:rPr>
            </a:br>
            <a:r>
              <a:rPr lang="en-US" sz="1800" b="0">
                <a:latin typeface="Calibri" panose="020F0502020204030204" pitchFamily="34" charset="0"/>
              </a:rPr>
              <a:t>Olivia </a:t>
            </a:r>
            <a:r>
              <a:rPr lang="en-US" sz="1800" b="0" err="1">
                <a:latin typeface="Calibri" panose="020F0502020204030204" pitchFamily="34" charset="0"/>
              </a:rPr>
              <a:t>Deguit</a:t>
            </a:r>
            <a:r>
              <a:rPr lang="en-US" sz="1800" b="0">
                <a:latin typeface="Calibri" panose="020F0502020204030204" pitchFamily="34" charset="0"/>
              </a:rPr>
              <a:t> </a:t>
            </a:r>
          </a:p>
          <a:p>
            <a:r>
              <a:rPr lang="en-US" sz="1800" b="0">
                <a:latin typeface="Calibri" panose="020F0502020204030204" pitchFamily="34" charset="0"/>
              </a:rPr>
              <a:t>Rochan Mehta</a:t>
            </a:r>
          </a:p>
          <a:p>
            <a:r>
              <a:rPr lang="en-US" sz="1800" b="0">
                <a:latin typeface="Calibri" panose="020F0502020204030204" pitchFamily="34" charset="0"/>
              </a:rPr>
              <a:t>Roger Mais</a:t>
            </a:r>
          </a:p>
          <a:p>
            <a:r>
              <a:rPr lang="en-US" sz="1800" b="0">
                <a:latin typeface="Calibri" panose="020F0502020204030204" pitchFamily="34" charset="0"/>
              </a:rPr>
              <a:t>Varun Sharma </a:t>
            </a:r>
            <a:endParaRPr lang="en-US">
              <a:solidFill>
                <a:srgbClr val="182044"/>
              </a:solidFill>
              <a:latin typeface="+mj-lt"/>
              <a:ea typeface="+mj-ea"/>
              <a:cs typeface="Arial Bold" panose="020B0704020202020204" pitchFamily="34" charset="0"/>
            </a:endParaRPr>
          </a:p>
        </p:txBody>
      </p:sp>
      <p:sp>
        <p:nvSpPr>
          <p:cNvPr id="2" name="タイトル 1">
            <a:extLst>
              <a:ext uri="{FF2B5EF4-FFF2-40B4-BE49-F238E27FC236}">
                <a16:creationId xmlns:a16="http://schemas.microsoft.com/office/drawing/2014/main" id="{6F01F978-CE85-1377-6EDE-D5FEBD8CE2D3}"/>
              </a:ext>
            </a:extLst>
          </p:cNvPr>
          <p:cNvSpPr txBox="1">
            <a:spLocks/>
          </p:cNvSpPr>
          <p:nvPr/>
        </p:nvSpPr>
        <p:spPr>
          <a:xfrm>
            <a:off x="770819" y="2840883"/>
            <a:ext cx="3959224" cy="621833"/>
          </a:xfrm>
          <a:prstGeom prst="rect">
            <a:avLst/>
          </a:prstGeom>
        </p:spPr>
        <p:txBody>
          <a:bodyPr vert="horz" wrap="square" lIns="0" tIns="36000" rIns="0" bIns="0" rtlCol="0" anchor="ctr" anchorCtr="0">
            <a:spAutoFit/>
          </a:bodyPr>
          <a:lstStyle>
            <a:lvl1pPr algn="l" rtl="0" eaLnBrk="1" fontAlgn="base" hangingPunct="1">
              <a:lnSpc>
                <a:spcPct val="110000"/>
              </a:lnSpc>
              <a:spcBef>
                <a:spcPct val="0"/>
              </a:spcBef>
              <a:spcAft>
                <a:spcPct val="0"/>
              </a:spcAft>
              <a:defRPr kumimoji="1" lang="ja-JP" altLang="en-US" sz="3200" b="1" kern="1200" noProof="0">
                <a:solidFill>
                  <a:schemeClr val="tx2"/>
                </a:solidFill>
                <a:latin typeface="+mn-lt"/>
                <a:ea typeface="+mn-ea"/>
                <a:cs typeface="Meiryo UI" panose="020B0604030504040204" pitchFamily="50" charset="-128"/>
              </a:defRPr>
            </a:lvl1pPr>
            <a:lvl2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2pPr>
            <a:lvl3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3pPr>
            <a:lvl4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4pPr>
            <a:lvl5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5pPr>
            <a:lvl6pPr marL="4572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6pPr>
            <a:lvl7pPr marL="9144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7pPr>
            <a:lvl8pPr marL="13716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8pPr>
            <a:lvl9pPr marL="18288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9pPr>
          </a:lstStyle>
          <a:p>
            <a:r>
              <a:rPr lang="en-US" altLang="ja-JP" sz="1800">
                <a:solidFill>
                  <a:srgbClr val="182044"/>
                </a:solidFill>
                <a:latin typeface="+mj-lt"/>
                <a:ea typeface="+mj-ea"/>
                <a:cs typeface="Arial Bold" panose="020B0704020202020204" pitchFamily="34" charset="0"/>
              </a:rPr>
              <a:t>Submitted to :</a:t>
            </a:r>
          </a:p>
          <a:p>
            <a:r>
              <a:rPr lang="en-US" altLang="ja-JP" sz="1800" b="0">
                <a:latin typeface="+mj-lt"/>
                <a:ea typeface="+mj-ea"/>
                <a:cs typeface="Arial Bold" panose="020B0704020202020204" pitchFamily="34" charset="0"/>
              </a:rPr>
              <a:t>Prof. Bhavik Gandhi</a:t>
            </a:r>
            <a:endParaRPr lang="en-US" b="0">
              <a:latin typeface="+mj-lt"/>
              <a:ea typeface="+mj-ea"/>
              <a:cs typeface="Arial Bold" panose="020B0704020202020204" pitchFamily="34" charset="0"/>
            </a:endParaRPr>
          </a:p>
        </p:txBody>
      </p:sp>
    </p:spTree>
    <p:extLst>
      <p:ext uri="{BB962C8B-B14F-4D97-AF65-F5344CB8AC3E}">
        <p14:creationId xmlns:p14="http://schemas.microsoft.com/office/powerpoint/2010/main" val="27057447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11D8E-E0AD-C633-5975-BCBEA4CBF86D}"/>
              </a:ext>
            </a:extLst>
          </p:cNvPr>
          <p:cNvSpPr>
            <a:spLocks noGrp="1"/>
          </p:cNvSpPr>
          <p:nvPr>
            <p:ph type="title"/>
          </p:nvPr>
        </p:nvSpPr>
        <p:spPr/>
        <p:txBody>
          <a:bodyPr/>
          <a:lstStyle/>
          <a:p>
            <a:r>
              <a:rPr lang="en-US"/>
              <a:t>Data Pipeline (2/3) : Data Preprocessing &amp; Creation</a:t>
            </a:r>
          </a:p>
        </p:txBody>
      </p:sp>
      <p:sp>
        <p:nvSpPr>
          <p:cNvPr id="4" name="TextBox 3">
            <a:extLst>
              <a:ext uri="{FF2B5EF4-FFF2-40B4-BE49-F238E27FC236}">
                <a16:creationId xmlns:a16="http://schemas.microsoft.com/office/drawing/2014/main" id="{5227DD2E-8366-D18D-D909-123438734F48}"/>
              </a:ext>
            </a:extLst>
          </p:cNvPr>
          <p:cNvSpPr txBox="1"/>
          <p:nvPr/>
        </p:nvSpPr>
        <p:spPr>
          <a:xfrm>
            <a:off x="6176509" y="2592966"/>
            <a:ext cx="3525202" cy="2406231"/>
          </a:xfrm>
          <a:prstGeom prst="rect">
            <a:avLst/>
          </a:prstGeom>
          <a:noFill/>
        </p:spPr>
        <p:txBody>
          <a:bodyPr wrap="square" lIns="36000" tIns="36000" rIns="36000" bIns="0" rtlCol="0">
            <a:spAutoFit/>
          </a:bodyPr>
          <a:lstStyle/>
          <a:p>
            <a:pPr marL="285750" indent="-285750">
              <a:buFont typeface="Arial" panose="020B0604020202020204" pitchFamily="34" charset="0"/>
              <a:buChar char="•"/>
            </a:pPr>
            <a:r>
              <a:rPr lang="en-US" sz="1400">
                <a:latin typeface="+mn-lt"/>
                <a:ea typeface="+mn-ea"/>
              </a:rPr>
              <a:t>Null values and duplicate records</a:t>
            </a:r>
          </a:p>
          <a:p>
            <a:pPr marL="285750" indent="-285750">
              <a:buFont typeface="Arial" panose="020B0604020202020204" pitchFamily="34" charset="0"/>
              <a:buChar char="•"/>
            </a:pPr>
            <a:r>
              <a:rPr lang="en-US" sz="1400" baseline="30000">
                <a:latin typeface="+mn-lt"/>
                <a:ea typeface="+mn-ea"/>
              </a:rPr>
              <a:t>* * </a:t>
            </a:r>
            <a:r>
              <a:rPr kumimoji="1" lang="en-US" sz="1400">
                <a:latin typeface="+mn-lt"/>
                <a:ea typeface="+mn-ea"/>
              </a:rPr>
              <a:t>Non-grammatical text (emails and URLs)</a:t>
            </a:r>
          </a:p>
          <a:p>
            <a:pPr marL="285750" indent="-285750">
              <a:buFont typeface="Arial" panose="020B0604020202020204" pitchFamily="34" charset="0"/>
              <a:buChar char="•"/>
            </a:pPr>
            <a:r>
              <a:rPr lang="en-US" sz="1400">
                <a:latin typeface="+mn-lt"/>
                <a:ea typeface="+mn-ea"/>
              </a:rPr>
              <a:t>Non-ascii and diacritics characters</a:t>
            </a:r>
          </a:p>
          <a:p>
            <a:pPr marL="285750" indent="-285750">
              <a:buFont typeface="Arial" panose="020B0604020202020204" pitchFamily="34" charset="0"/>
              <a:buChar char="•"/>
            </a:pPr>
            <a:r>
              <a:rPr kumimoji="1" lang="en-US" sz="1400">
                <a:latin typeface="+mn-lt"/>
                <a:ea typeface="+mn-ea"/>
              </a:rPr>
              <a:t>Emojis, Slangs and </a:t>
            </a:r>
            <a:r>
              <a:rPr lang="en-US" sz="1400" baseline="30000">
                <a:latin typeface="+mn-lt"/>
                <a:ea typeface="+mn-ea"/>
              </a:rPr>
              <a:t>* </a:t>
            </a:r>
            <a:r>
              <a:rPr kumimoji="1" lang="en-US" sz="1400">
                <a:latin typeface="+mn-lt"/>
                <a:ea typeface="+mn-ea"/>
              </a:rPr>
              <a:t>Abbreviations</a:t>
            </a:r>
          </a:p>
          <a:p>
            <a:pPr marL="285750" indent="-285750">
              <a:buFont typeface="Arial" panose="020B0604020202020204" pitchFamily="34" charset="0"/>
              <a:buChar char="•"/>
            </a:pPr>
            <a:r>
              <a:rPr lang="en-US" sz="1400">
                <a:latin typeface="+mn-lt"/>
                <a:ea typeface="+mn-ea"/>
              </a:rPr>
              <a:t>Word contractions</a:t>
            </a:r>
          </a:p>
          <a:p>
            <a:pPr marL="285750" indent="-285750">
              <a:buFont typeface="Arial" panose="020B0604020202020204" pitchFamily="34" charset="0"/>
              <a:buChar char="•"/>
            </a:pPr>
            <a:r>
              <a:rPr lang="en-US" sz="1400">
                <a:latin typeface="+mn-lt"/>
                <a:ea typeface="+mn-ea"/>
              </a:rPr>
              <a:t>Name Entity Recognition</a:t>
            </a:r>
          </a:p>
          <a:p>
            <a:pPr marL="285750" indent="-285750">
              <a:buFont typeface="Arial" panose="020B0604020202020204" pitchFamily="34" charset="0"/>
              <a:buChar char="•"/>
            </a:pPr>
            <a:r>
              <a:rPr lang="en-US" sz="1400" baseline="30000">
                <a:latin typeface="+mn-lt"/>
                <a:ea typeface="+mn-ea"/>
              </a:rPr>
              <a:t>*</a:t>
            </a:r>
            <a:r>
              <a:rPr lang="en-US" sz="1400">
                <a:latin typeface="+mn-lt"/>
                <a:ea typeface="+mn-ea"/>
              </a:rPr>
              <a:t>Spellchecker and </a:t>
            </a:r>
            <a:r>
              <a:rPr lang="en-US" sz="1400" baseline="30000">
                <a:latin typeface="+mn-lt"/>
                <a:ea typeface="+mn-ea"/>
              </a:rPr>
              <a:t>* </a:t>
            </a:r>
            <a:r>
              <a:rPr lang="en-US" sz="1400">
                <a:latin typeface="+mn-lt"/>
                <a:ea typeface="+mn-ea"/>
              </a:rPr>
              <a:t>POS Tagging</a:t>
            </a:r>
          </a:p>
          <a:p>
            <a:pPr marL="285750" indent="-285750">
              <a:buFont typeface="Arial" panose="020B0604020202020204" pitchFamily="34" charset="0"/>
              <a:buChar char="•"/>
            </a:pPr>
            <a:r>
              <a:rPr kumimoji="1" lang="en-US" sz="1400">
                <a:latin typeface="+mn-lt"/>
                <a:ea typeface="+mn-ea"/>
              </a:rPr>
              <a:t>Lowercasing and </a:t>
            </a:r>
            <a:r>
              <a:rPr lang="en-US" sz="1400" baseline="30000">
                <a:latin typeface="+mn-lt"/>
                <a:ea typeface="+mn-ea"/>
              </a:rPr>
              <a:t>* * </a:t>
            </a:r>
            <a:r>
              <a:rPr kumimoji="1" lang="en-US" sz="1400">
                <a:latin typeface="+mn-lt"/>
                <a:ea typeface="+mn-ea"/>
              </a:rPr>
              <a:t>whitespaces</a:t>
            </a:r>
          </a:p>
          <a:p>
            <a:pPr marL="285750" indent="-285750">
              <a:buFont typeface="Arial" panose="020B0604020202020204" pitchFamily="34" charset="0"/>
              <a:buChar char="•"/>
            </a:pPr>
            <a:r>
              <a:rPr lang="en-US" sz="1400">
                <a:latin typeface="+mn-lt"/>
                <a:ea typeface="+mn-ea"/>
              </a:rPr>
              <a:t>Non-alphanumeric characters</a:t>
            </a:r>
          </a:p>
          <a:p>
            <a:pPr marL="285750" indent="-285750">
              <a:buFont typeface="Arial" panose="020B0604020202020204" pitchFamily="34" charset="0"/>
              <a:buChar char="•"/>
            </a:pPr>
            <a:r>
              <a:rPr lang="en-US" sz="1400" baseline="30000">
                <a:latin typeface="+mn-lt"/>
                <a:ea typeface="+mn-ea"/>
              </a:rPr>
              <a:t>* * </a:t>
            </a:r>
            <a:r>
              <a:rPr kumimoji="1" lang="en-US" sz="1400" err="1">
                <a:latin typeface="+mn-lt"/>
                <a:ea typeface="+mn-ea"/>
              </a:rPr>
              <a:t>Stopwords</a:t>
            </a:r>
            <a:r>
              <a:rPr kumimoji="1" lang="en-US" sz="1400">
                <a:latin typeface="+mn-lt"/>
                <a:ea typeface="+mn-ea"/>
              </a:rPr>
              <a:t> and lemmatization (Spacy)</a:t>
            </a:r>
          </a:p>
        </p:txBody>
      </p:sp>
      <p:grpSp>
        <p:nvGrpSpPr>
          <p:cNvPr id="5" name="グループ化 3">
            <a:extLst>
              <a:ext uri="{FF2B5EF4-FFF2-40B4-BE49-F238E27FC236}">
                <a16:creationId xmlns:a16="http://schemas.microsoft.com/office/drawing/2014/main" id="{C9DA5E09-6429-D528-067A-13C6C05F5193}"/>
              </a:ext>
            </a:extLst>
          </p:cNvPr>
          <p:cNvGrpSpPr/>
          <p:nvPr/>
        </p:nvGrpSpPr>
        <p:grpSpPr>
          <a:xfrm>
            <a:off x="5651260" y="841352"/>
            <a:ext cx="4056285" cy="299821"/>
            <a:chOff x="1016089" y="1463947"/>
            <a:chExt cx="2016000" cy="318926"/>
          </a:xfrm>
        </p:grpSpPr>
        <p:sp>
          <p:nvSpPr>
            <p:cNvPr id="6" name="Rectangle 2">
              <a:extLst>
                <a:ext uri="{FF2B5EF4-FFF2-40B4-BE49-F238E27FC236}">
                  <a16:creationId xmlns:a16="http://schemas.microsoft.com/office/drawing/2014/main" id="{E67E7AA9-5349-C671-CF4C-5D766EE9D3F4}"/>
                </a:ext>
              </a:extLst>
            </p:cNvPr>
            <p:cNvSpPr>
              <a:spLocks noChangeArrowheads="1"/>
            </p:cNvSpPr>
            <p:nvPr/>
          </p:nvSpPr>
          <p:spPr bwMode="auto">
            <a:xfrm>
              <a:off x="1848398" y="1463947"/>
              <a:ext cx="351395" cy="318924"/>
            </a:xfrm>
            <a:prstGeom prst="rect">
              <a:avLst/>
            </a:prstGeom>
            <a:noFill/>
            <a:ln w="9525">
              <a:noFill/>
              <a:miter lim="800000"/>
              <a:headEnd/>
              <a:tailEnd/>
            </a:ln>
            <a:effectLst/>
          </p:spPr>
          <p:txBody>
            <a:bodyPr wrap="none" lIns="36000" tIns="36000" rIns="36000" bIns="36000" anchor="b"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1600" b="1" i="0" u="none" strike="noStrike" kern="1200" cap="none" spc="0" normalizeH="0" baseline="0" noProof="0">
                  <a:ln>
                    <a:noFill/>
                  </a:ln>
                  <a:solidFill>
                    <a:srgbClr val="4A4A4A"/>
                  </a:solidFill>
                  <a:effectLst/>
                  <a:uLnTx/>
                  <a:uFillTx/>
                  <a:latin typeface="+mj-lt"/>
                  <a:ea typeface="Meiryo UI"/>
                </a:rPr>
                <a:t>Details</a:t>
              </a:r>
              <a:endParaRPr kumimoji="1" lang="ja-JP" altLang="en-US" sz="1600" b="1" i="0" u="none" strike="noStrike" kern="1200" cap="none" spc="0" normalizeH="0" baseline="0" noProof="0">
                <a:ln>
                  <a:noFill/>
                </a:ln>
                <a:solidFill>
                  <a:srgbClr val="4A4A4A"/>
                </a:solidFill>
                <a:effectLst/>
                <a:uLnTx/>
                <a:uFillTx/>
                <a:latin typeface="+mj-lt"/>
                <a:ea typeface="Meiryo UI"/>
              </a:endParaRPr>
            </a:p>
          </p:txBody>
        </p:sp>
        <p:cxnSp>
          <p:nvCxnSpPr>
            <p:cNvPr id="7" name="直線コネクタ 4">
              <a:extLst>
                <a:ext uri="{FF2B5EF4-FFF2-40B4-BE49-F238E27FC236}">
                  <a16:creationId xmlns:a16="http://schemas.microsoft.com/office/drawing/2014/main" id="{4635D48C-3E25-116C-60E0-67327F7F63CF}"/>
                </a:ext>
              </a:extLst>
            </p:cNvPr>
            <p:cNvCxnSpPr/>
            <p:nvPr/>
          </p:nvCxnSpPr>
          <p:spPr bwMode="auto">
            <a:xfrm>
              <a:off x="1016089" y="1782873"/>
              <a:ext cx="2016000" cy="0"/>
            </a:xfrm>
            <a:prstGeom prst="line">
              <a:avLst/>
            </a:prstGeom>
            <a:solidFill>
              <a:srgbClr val="FF6600"/>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グループ化 3">
            <a:extLst>
              <a:ext uri="{FF2B5EF4-FFF2-40B4-BE49-F238E27FC236}">
                <a16:creationId xmlns:a16="http://schemas.microsoft.com/office/drawing/2014/main" id="{AE6C7375-6E5E-7F42-E53F-8AEE52266884}"/>
              </a:ext>
            </a:extLst>
          </p:cNvPr>
          <p:cNvGrpSpPr/>
          <p:nvPr/>
        </p:nvGrpSpPr>
        <p:grpSpPr>
          <a:xfrm>
            <a:off x="198455" y="828247"/>
            <a:ext cx="5103121" cy="318924"/>
            <a:chOff x="1016089" y="1458276"/>
            <a:chExt cx="2016000" cy="324598"/>
          </a:xfrm>
        </p:grpSpPr>
        <p:sp>
          <p:nvSpPr>
            <p:cNvPr id="10" name="Rectangle 2">
              <a:extLst>
                <a:ext uri="{FF2B5EF4-FFF2-40B4-BE49-F238E27FC236}">
                  <a16:creationId xmlns:a16="http://schemas.microsoft.com/office/drawing/2014/main" id="{6E730519-3B36-E45D-A4BB-6939A2CED3C6}"/>
                </a:ext>
              </a:extLst>
            </p:cNvPr>
            <p:cNvSpPr>
              <a:spLocks noChangeArrowheads="1"/>
            </p:cNvSpPr>
            <p:nvPr/>
          </p:nvSpPr>
          <p:spPr bwMode="auto">
            <a:xfrm>
              <a:off x="1819754" y="1458276"/>
              <a:ext cx="408684" cy="324598"/>
            </a:xfrm>
            <a:prstGeom prst="rect">
              <a:avLst/>
            </a:prstGeom>
            <a:noFill/>
            <a:ln w="9525">
              <a:noFill/>
              <a:miter lim="800000"/>
              <a:headEnd/>
              <a:tailEnd/>
            </a:ln>
            <a:effectLst/>
          </p:spPr>
          <p:txBody>
            <a:bodyPr wrap="none" lIns="36000" tIns="36000" rIns="36000" bIns="36000" anchor="b"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1600" b="1" i="0" u="none" strike="noStrike" kern="1200" cap="none" spc="0" normalizeH="0" baseline="0" noProof="0">
                  <a:ln>
                    <a:noFill/>
                  </a:ln>
                  <a:solidFill>
                    <a:srgbClr val="4A4A4A"/>
                  </a:solidFill>
                  <a:effectLst/>
                  <a:uLnTx/>
                  <a:uFillTx/>
                  <a:latin typeface="+mj-lt"/>
                  <a:ea typeface="Meiryo UI"/>
                </a:rPr>
                <a:t>Data Flow</a:t>
              </a:r>
              <a:endParaRPr kumimoji="1" lang="ja-JP" altLang="en-US" sz="1600" b="1" i="0" u="none" strike="noStrike" kern="1200" cap="none" spc="0" normalizeH="0" baseline="0" noProof="0">
                <a:ln>
                  <a:noFill/>
                </a:ln>
                <a:solidFill>
                  <a:srgbClr val="4A4A4A"/>
                </a:solidFill>
                <a:effectLst/>
                <a:uLnTx/>
                <a:uFillTx/>
                <a:latin typeface="+mj-lt"/>
                <a:ea typeface="Meiryo UI"/>
              </a:endParaRPr>
            </a:p>
          </p:txBody>
        </p:sp>
        <p:cxnSp>
          <p:nvCxnSpPr>
            <p:cNvPr id="11" name="直線コネクタ 4">
              <a:extLst>
                <a:ext uri="{FF2B5EF4-FFF2-40B4-BE49-F238E27FC236}">
                  <a16:creationId xmlns:a16="http://schemas.microsoft.com/office/drawing/2014/main" id="{D885938B-96B3-4E84-BDD1-D9C880581C51}"/>
                </a:ext>
              </a:extLst>
            </p:cNvPr>
            <p:cNvCxnSpPr/>
            <p:nvPr/>
          </p:nvCxnSpPr>
          <p:spPr bwMode="auto">
            <a:xfrm>
              <a:off x="1016089" y="1782873"/>
              <a:ext cx="2016000" cy="0"/>
            </a:xfrm>
            <a:prstGeom prst="line">
              <a:avLst/>
            </a:prstGeom>
            <a:solidFill>
              <a:srgbClr val="FF6600"/>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2" name="Rectangle 11">
            <a:extLst>
              <a:ext uri="{FF2B5EF4-FFF2-40B4-BE49-F238E27FC236}">
                <a16:creationId xmlns:a16="http://schemas.microsoft.com/office/drawing/2014/main" id="{3CAD1D49-3969-DF9C-2CB0-6BC9D29B5228}"/>
              </a:ext>
            </a:extLst>
          </p:cNvPr>
          <p:cNvSpPr/>
          <p:nvPr/>
        </p:nvSpPr>
        <p:spPr bwMode="auto">
          <a:xfrm>
            <a:off x="5651260" y="1232786"/>
            <a:ext cx="452061" cy="1188874"/>
          </a:xfrm>
          <a:prstGeom prst="rect">
            <a:avLst/>
          </a:prstGeom>
          <a:solidFill>
            <a:schemeClr val="tx2"/>
          </a:solidFill>
          <a:ln w="12700" cap="flat" cmpd="sng" algn="ctr">
            <a:noFill/>
            <a:prstDash val="solid"/>
            <a:round/>
            <a:headEnd type="none" w="med" len="med"/>
            <a:tailEnd type="none" w="med" len="med"/>
          </a:ln>
          <a:effectLst/>
        </p:spPr>
        <p:txBody>
          <a:bodyPr vert="vert270"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400" b="0" i="0" u="none" strike="noStrike" cap="none" normalizeH="0" baseline="0">
                <a:ln>
                  <a:noFill/>
                </a:ln>
                <a:solidFill>
                  <a:schemeClr val="bg1"/>
                </a:solidFill>
                <a:effectLst/>
                <a:latin typeface="+mn-lt"/>
                <a:ea typeface="+mn-ea"/>
              </a:rPr>
              <a:t>Description</a:t>
            </a:r>
          </a:p>
        </p:txBody>
      </p:sp>
      <p:grpSp>
        <p:nvGrpSpPr>
          <p:cNvPr id="14" name="Group 13">
            <a:extLst>
              <a:ext uri="{FF2B5EF4-FFF2-40B4-BE49-F238E27FC236}">
                <a16:creationId xmlns:a16="http://schemas.microsoft.com/office/drawing/2014/main" id="{66F321C5-DCF1-207C-79F4-27A7A6B57933}"/>
              </a:ext>
            </a:extLst>
          </p:cNvPr>
          <p:cNvGrpSpPr/>
          <p:nvPr/>
        </p:nvGrpSpPr>
        <p:grpSpPr>
          <a:xfrm>
            <a:off x="198456" y="1187387"/>
            <a:ext cx="5238210" cy="5319901"/>
            <a:chOff x="198456" y="1339791"/>
            <a:chExt cx="5238210" cy="5319901"/>
          </a:xfrm>
        </p:grpSpPr>
        <p:cxnSp>
          <p:nvCxnSpPr>
            <p:cNvPr id="24" name="Straight Arrow Connector 23">
              <a:extLst>
                <a:ext uri="{FF2B5EF4-FFF2-40B4-BE49-F238E27FC236}">
                  <a16:creationId xmlns:a16="http://schemas.microsoft.com/office/drawing/2014/main" id="{14A2D170-A664-8BC5-FEC9-D9EC96C47530}"/>
                </a:ext>
              </a:extLst>
            </p:cNvPr>
            <p:cNvCxnSpPr>
              <a:cxnSpLocks/>
            </p:cNvCxnSpPr>
            <p:nvPr/>
          </p:nvCxnSpPr>
          <p:spPr bwMode="auto">
            <a:xfrm>
              <a:off x="1567105" y="1824031"/>
              <a:ext cx="0" cy="525787"/>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 name="Group 2">
              <a:extLst>
                <a:ext uri="{FF2B5EF4-FFF2-40B4-BE49-F238E27FC236}">
                  <a16:creationId xmlns:a16="http://schemas.microsoft.com/office/drawing/2014/main" id="{9582386C-FF1F-71E7-A5D8-CAC6B6363FA2}"/>
                </a:ext>
              </a:extLst>
            </p:cNvPr>
            <p:cNvGrpSpPr/>
            <p:nvPr/>
          </p:nvGrpSpPr>
          <p:grpSpPr>
            <a:xfrm>
              <a:off x="580841" y="1339791"/>
              <a:ext cx="2014295" cy="484240"/>
              <a:chOff x="580841" y="1612275"/>
              <a:chExt cx="2014295" cy="484240"/>
            </a:xfrm>
          </p:grpSpPr>
          <p:sp>
            <p:nvSpPr>
              <p:cNvPr id="87" name="Rectangle 86">
                <a:extLst>
                  <a:ext uri="{FF2B5EF4-FFF2-40B4-BE49-F238E27FC236}">
                    <a16:creationId xmlns:a16="http://schemas.microsoft.com/office/drawing/2014/main" id="{0EF22154-67E2-66CE-25D8-254AA35A1A95}"/>
                  </a:ext>
                </a:extLst>
              </p:cNvPr>
              <p:cNvSpPr/>
              <p:nvPr/>
            </p:nvSpPr>
            <p:spPr bwMode="auto">
              <a:xfrm>
                <a:off x="580841" y="1657673"/>
                <a:ext cx="2014295" cy="438842"/>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18" name="TextBox 17">
                <a:extLst>
                  <a:ext uri="{FF2B5EF4-FFF2-40B4-BE49-F238E27FC236}">
                    <a16:creationId xmlns:a16="http://schemas.microsoft.com/office/drawing/2014/main" id="{6AB8B340-A5A1-1C09-EDF4-6505F38A2B53}"/>
                  </a:ext>
                </a:extLst>
              </p:cNvPr>
              <p:cNvSpPr txBox="1"/>
              <p:nvPr/>
            </p:nvSpPr>
            <p:spPr>
              <a:xfrm>
                <a:off x="985920" y="1612275"/>
                <a:ext cx="1545302" cy="221018"/>
              </a:xfrm>
              <a:prstGeom prst="rect">
                <a:avLst/>
              </a:prstGeom>
              <a:noFill/>
            </p:spPr>
            <p:txBody>
              <a:bodyPr wrap="square" lIns="36000" tIns="36000" rIns="36000" bIns="0" rtlCol="0">
                <a:spAutoFit/>
              </a:bodyPr>
              <a:lstStyle/>
              <a:p>
                <a:r>
                  <a:rPr kumimoji="1" lang="en-US" sz="1200">
                    <a:latin typeface="+mn-lt"/>
                    <a:ea typeface="+mn-ea"/>
                  </a:rPr>
                  <a:t>Data Acquisition</a:t>
                </a:r>
              </a:p>
            </p:txBody>
          </p:sp>
          <p:sp>
            <p:nvSpPr>
              <p:cNvPr id="20" name="Rectangle 19">
                <a:extLst>
                  <a:ext uri="{FF2B5EF4-FFF2-40B4-BE49-F238E27FC236}">
                    <a16:creationId xmlns:a16="http://schemas.microsoft.com/office/drawing/2014/main" id="{63AB8C03-C767-9C46-E78F-6E1AA710E6F7}"/>
                  </a:ext>
                </a:extLst>
              </p:cNvPr>
              <p:cNvSpPr/>
              <p:nvPr/>
            </p:nvSpPr>
            <p:spPr bwMode="auto">
              <a:xfrm>
                <a:off x="725520" y="1862827"/>
                <a:ext cx="1656022" cy="181932"/>
              </a:xfrm>
              <a:prstGeom prst="rect">
                <a:avLst/>
              </a:prstGeom>
              <a:solidFill>
                <a:schemeClr val="bg1"/>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21" name="TextBox 20">
                <a:extLst>
                  <a:ext uri="{FF2B5EF4-FFF2-40B4-BE49-F238E27FC236}">
                    <a16:creationId xmlns:a16="http://schemas.microsoft.com/office/drawing/2014/main" id="{0D5ED5B2-28BD-E5B4-3164-D7140228E829}"/>
                  </a:ext>
                </a:extLst>
              </p:cNvPr>
              <p:cNvSpPr txBox="1"/>
              <p:nvPr/>
            </p:nvSpPr>
            <p:spPr>
              <a:xfrm>
                <a:off x="762659" y="1823550"/>
                <a:ext cx="1558835" cy="205629"/>
              </a:xfrm>
              <a:prstGeom prst="rect">
                <a:avLst/>
              </a:prstGeom>
              <a:noFill/>
            </p:spPr>
            <p:txBody>
              <a:bodyPr wrap="square" lIns="36000" tIns="36000" rIns="36000" bIns="0" rtlCol="0">
                <a:spAutoFit/>
              </a:bodyPr>
              <a:lstStyle/>
              <a:p>
                <a:pPr algn="ctr"/>
                <a:r>
                  <a:rPr kumimoji="1" lang="en-US" sz="1100">
                    <a:latin typeface="+mn-lt"/>
                    <a:ea typeface="+mn-ea"/>
                  </a:rPr>
                  <a:t>Kaggle (IMDB dataset)</a:t>
                </a:r>
                <a:endParaRPr kumimoji="1" lang="en-US" sz="1200">
                  <a:latin typeface="+mn-lt"/>
                  <a:ea typeface="+mn-ea"/>
                </a:endParaRPr>
              </a:p>
            </p:txBody>
          </p:sp>
        </p:grpSp>
        <p:grpSp>
          <p:nvGrpSpPr>
            <p:cNvPr id="29" name="Group 28">
              <a:extLst>
                <a:ext uri="{FF2B5EF4-FFF2-40B4-BE49-F238E27FC236}">
                  <a16:creationId xmlns:a16="http://schemas.microsoft.com/office/drawing/2014/main" id="{BA38460B-1AE9-953E-0CAD-9EA5AC1B782D}"/>
                </a:ext>
              </a:extLst>
            </p:cNvPr>
            <p:cNvGrpSpPr/>
            <p:nvPr/>
          </p:nvGrpSpPr>
          <p:grpSpPr>
            <a:xfrm>
              <a:off x="315795" y="2341303"/>
              <a:ext cx="2506138" cy="307259"/>
              <a:chOff x="480829" y="2923259"/>
              <a:chExt cx="1403354" cy="307259"/>
            </a:xfrm>
          </p:grpSpPr>
          <p:sp>
            <p:nvSpPr>
              <p:cNvPr id="13" name="Rectangle 12">
                <a:extLst>
                  <a:ext uri="{FF2B5EF4-FFF2-40B4-BE49-F238E27FC236}">
                    <a16:creationId xmlns:a16="http://schemas.microsoft.com/office/drawing/2014/main" id="{8AEF4EC7-8C88-8A01-F3FE-94577D825F42}"/>
                  </a:ext>
                </a:extLst>
              </p:cNvPr>
              <p:cNvSpPr/>
              <p:nvPr/>
            </p:nvSpPr>
            <p:spPr bwMode="auto">
              <a:xfrm>
                <a:off x="480829" y="2923259"/>
                <a:ext cx="1311058" cy="307259"/>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27" name="TextBox 26">
                <a:extLst>
                  <a:ext uri="{FF2B5EF4-FFF2-40B4-BE49-F238E27FC236}">
                    <a16:creationId xmlns:a16="http://schemas.microsoft.com/office/drawing/2014/main" id="{3AE653E7-B3A8-BECB-CF70-A1E1EE470CB9}"/>
                  </a:ext>
                </a:extLst>
              </p:cNvPr>
              <p:cNvSpPr txBox="1"/>
              <p:nvPr/>
            </p:nvSpPr>
            <p:spPr>
              <a:xfrm>
                <a:off x="520972" y="2935007"/>
                <a:ext cx="1363211" cy="221018"/>
              </a:xfrm>
              <a:prstGeom prst="rect">
                <a:avLst/>
              </a:prstGeom>
              <a:noFill/>
            </p:spPr>
            <p:txBody>
              <a:bodyPr wrap="square" lIns="36000" tIns="36000" rIns="36000" bIns="0" rtlCol="0">
                <a:spAutoFit/>
              </a:bodyPr>
              <a:lstStyle/>
              <a:p>
                <a:r>
                  <a:rPr kumimoji="1" lang="en-US" sz="1200">
                    <a:latin typeface="+mn-lt"/>
                    <a:ea typeface="+mn-ea"/>
                  </a:rPr>
                  <a:t>Original Movie Reviews Dataset</a:t>
                </a:r>
              </a:p>
            </p:txBody>
          </p:sp>
        </p:grpSp>
        <p:cxnSp>
          <p:nvCxnSpPr>
            <p:cNvPr id="32" name="Straight Arrow Connector 31">
              <a:extLst>
                <a:ext uri="{FF2B5EF4-FFF2-40B4-BE49-F238E27FC236}">
                  <a16:creationId xmlns:a16="http://schemas.microsoft.com/office/drawing/2014/main" id="{A104217B-82E9-D557-7CB0-6058E4B20FFA}"/>
                </a:ext>
              </a:extLst>
            </p:cNvPr>
            <p:cNvCxnSpPr>
              <a:cxnSpLocks/>
            </p:cNvCxnSpPr>
            <p:nvPr/>
          </p:nvCxnSpPr>
          <p:spPr bwMode="auto">
            <a:xfrm>
              <a:off x="1567105" y="2648562"/>
              <a:ext cx="0" cy="250900"/>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4" name="Group 33">
              <a:extLst>
                <a:ext uri="{FF2B5EF4-FFF2-40B4-BE49-F238E27FC236}">
                  <a16:creationId xmlns:a16="http://schemas.microsoft.com/office/drawing/2014/main" id="{D80C22A8-CA94-BC00-6B3B-146213218B50}"/>
                </a:ext>
              </a:extLst>
            </p:cNvPr>
            <p:cNvGrpSpPr/>
            <p:nvPr/>
          </p:nvGrpSpPr>
          <p:grpSpPr>
            <a:xfrm>
              <a:off x="315795" y="2884088"/>
              <a:ext cx="2341314" cy="307259"/>
              <a:chOff x="480829" y="2923259"/>
              <a:chExt cx="1311058" cy="307259"/>
            </a:xfrm>
          </p:grpSpPr>
          <p:sp>
            <p:nvSpPr>
              <p:cNvPr id="35" name="Rectangle 34">
                <a:extLst>
                  <a:ext uri="{FF2B5EF4-FFF2-40B4-BE49-F238E27FC236}">
                    <a16:creationId xmlns:a16="http://schemas.microsoft.com/office/drawing/2014/main" id="{A87C0D5E-D93E-60AC-26D8-9B3D1CBFE945}"/>
                  </a:ext>
                </a:extLst>
              </p:cNvPr>
              <p:cNvSpPr/>
              <p:nvPr/>
            </p:nvSpPr>
            <p:spPr bwMode="auto">
              <a:xfrm>
                <a:off x="480829" y="2923259"/>
                <a:ext cx="1311058" cy="307259"/>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36" name="TextBox 35">
                <a:extLst>
                  <a:ext uri="{FF2B5EF4-FFF2-40B4-BE49-F238E27FC236}">
                    <a16:creationId xmlns:a16="http://schemas.microsoft.com/office/drawing/2014/main" id="{95E1DF6E-27A9-9171-A5B0-80FEAAC8C546}"/>
                  </a:ext>
                </a:extLst>
              </p:cNvPr>
              <p:cNvSpPr txBox="1"/>
              <p:nvPr/>
            </p:nvSpPr>
            <p:spPr>
              <a:xfrm>
                <a:off x="664389" y="2935007"/>
                <a:ext cx="1092796" cy="221018"/>
              </a:xfrm>
              <a:prstGeom prst="rect">
                <a:avLst/>
              </a:prstGeom>
              <a:noFill/>
            </p:spPr>
            <p:txBody>
              <a:bodyPr wrap="square" lIns="36000" tIns="36000" rIns="36000" bIns="0" rtlCol="0">
                <a:spAutoFit/>
              </a:bodyPr>
              <a:lstStyle/>
              <a:p>
                <a:r>
                  <a:rPr kumimoji="1" lang="en-US" sz="1200">
                    <a:latin typeface="+mn-lt"/>
                    <a:ea typeface="+mn-ea"/>
                  </a:rPr>
                  <a:t>Basic Data Preprocessing</a:t>
                </a:r>
              </a:p>
            </p:txBody>
          </p:sp>
        </p:grpSp>
        <p:cxnSp>
          <p:nvCxnSpPr>
            <p:cNvPr id="37" name="Straight Arrow Connector 36">
              <a:extLst>
                <a:ext uri="{FF2B5EF4-FFF2-40B4-BE49-F238E27FC236}">
                  <a16:creationId xmlns:a16="http://schemas.microsoft.com/office/drawing/2014/main" id="{EA196419-0ED4-5877-80C4-0C6119D35B47}"/>
                </a:ext>
              </a:extLst>
            </p:cNvPr>
            <p:cNvCxnSpPr>
              <a:cxnSpLocks/>
            </p:cNvCxnSpPr>
            <p:nvPr/>
          </p:nvCxnSpPr>
          <p:spPr bwMode="auto">
            <a:xfrm>
              <a:off x="1567105" y="3208902"/>
              <a:ext cx="0" cy="250900"/>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8" name="Group 37">
              <a:extLst>
                <a:ext uri="{FF2B5EF4-FFF2-40B4-BE49-F238E27FC236}">
                  <a16:creationId xmlns:a16="http://schemas.microsoft.com/office/drawing/2014/main" id="{6626F88F-A99A-512C-18BF-473F1ABB0321}"/>
                </a:ext>
              </a:extLst>
            </p:cNvPr>
            <p:cNvGrpSpPr/>
            <p:nvPr/>
          </p:nvGrpSpPr>
          <p:grpSpPr>
            <a:xfrm>
              <a:off x="315797" y="3444428"/>
              <a:ext cx="2341316" cy="307259"/>
              <a:chOff x="480829" y="2923259"/>
              <a:chExt cx="1311058" cy="307259"/>
            </a:xfrm>
          </p:grpSpPr>
          <p:sp>
            <p:nvSpPr>
              <p:cNvPr id="39" name="Rectangle 38">
                <a:extLst>
                  <a:ext uri="{FF2B5EF4-FFF2-40B4-BE49-F238E27FC236}">
                    <a16:creationId xmlns:a16="http://schemas.microsoft.com/office/drawing/2014/main" id="{333BCCF7-1A1D-5752-BF06-6C0E18C16186}"/>
                  </a:ext>
                </a:extLst>
              </p:cNvPr>
              <p:cNvSpPr/>
              <p:nvPr/>
            </p:nvSpPr>
            <p:spPr bwMode="auto">
              <a:xfrm>
                <a:off x="480829" y="2923259"/>
                <a:ext cx="1311058" cy="307259"/>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40" name="TextBox 39">
                <a:extLst>
                  <a:ext uri="{FF2B5EF4-FFF2-40B4-BE49-F238E27FC236}">
                    <a16:creationId xmlns:a16="http://schemas.microsoft.com/office/drawing/2014/main" id="{5AD62CF6-A821-79D1-1DAC-72D521C6DDC0}"/>
                  </a:ext>
                </a:extLst>
              </p:cNvPr>
              <p:cNvSpPr txBox="1"/>
              <p:nvPr/>
            </p:nvSpPr>
            <p:spPr>
              <a:xfrm>
                <a:off x="638936" y="2935007"/>
                <a:ext cx="1137502" cy="221018"/>
              </a:xfrm>
              <a:prstGeom prst="rect">
                <a:avLst/>
              </a:prstGeom>
              <a:noFill/>
            </p:spPr>
            <p:txBody>
              <a:bodyPr wrap="square" lIns="36000" tIns="36000" rIns="36000" bIns="0" rtlCol="0">
                <a:spAutoFit/>
              </a:bodyPr>
              <a:lstStyle/>
              <a:p>
                <a:r>
                  <a:rPr kumimoji="1" lang="en-US" sz="1200">
                    <a:latin typeface="+mn-lt"/>
                    <a:ea typeface="+mn-ea"/>
                  </a:rPr>
                  <a:t>Roberta Sentiment Model</a:t>
                </a:r>
              </a:p>
            </p:txBody>
          </p:sp>
        </p:grpSp>
        <p:cxnSp>
          <p:nvCxnSpPr>
            <p:cNvPr id="41" name="Straight Arrow Connector 40">
              <a:extLst>
                <a:ext uri="{FF2B5EF4-FFF2-40B4-BE49-F238E27FC236}">
                  <a16:creationId xmlns:a16="http://schemas.microsoft.com/office/drawing/2014/main" id="{4E40DFD1-006B-308B-FFBA-FC0C3EA1F149}"/>
                </a:ext>
              </a:extLst>
            </p:cNvPr>
            <p:cNvCxnSpPr>
              <a:cxnSpLocks/>
            </p:cNvCxnSpPr>
            <p:nvPr/>
          </p:nvCxnSpPr>
          <p:spPr bwMode="auto">
            <a:xfrm>
              <a:off x="1567105" y="3758546"/>
              <a:ext cx="0" cy="250900"/>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3" name="Rectangle 42">
              <a:extLst>
                <a:ext uri="{FF2B5EF4-FFF2-40B4-BE49-F238E27FC236}">
                  <a16:creationId xmlns:a16="http://schemas.microsoft.com/office/drawing/2014/main" id="{CDEF0D60-AFD0-2727-F843-43843A531B08}"/>
                </a:ext>
              </a:extLst>
            </p:cNvPr>
            <p:cNvSpPr/>
            <p:nvPr/>
          </p:nvSpPr>
          <p:spPr bwMode="auto">
            <a:xfrm>
              <a:off x="315795" y="3994072"/>
              <a:ext cx="2341312" cy="307259"/>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44" name="TextBox 43">
              <a:extLst>
                <a:ext uri="{FF2B5EF4-FFF2-40B4-BE49-F238E27FC236}">
                  <a16:creationId xmlns:a16="http://schemas.microsoft.com/office/drawing/2014/main" id="{AA98B162-16C5-ED31-95FE-AA7C4E26EEC4}"/>
                </a:ext>
              </a:extLst>
            </p:cNvPr>
            <p:cNvSpPr txBox="1"/>
            <p:nvPr/>
          </p:nvSpPr>
          <p:spPr>
            <a:xfrm>
              <a:off x="432305" y="4005820"/>
              <a:ext cx="2131660" cy="221018"/>
            </a:xfrm>
            <a:prstGeom prst="rect">
              <a:avLst/>
            </a:prstGeom>
            <a:noFill/>
          </p:spPr>
          <p:txBody>
            <a:bodyPr wrap="square" lIns="36000" tIns="36000" rIns="36000" bIns="0" rtlCol="0">
              <a:spAutoFit/>
            </a:bodyPr>
            <a:lstStyle/>
            <a:p>
              <a:r>
                <a:rPr kumimoji="1" lang="en-US" sz="1200">
                  <a:latin typeface="+mn-lt"/>
                  <a:ea typeface="+mn-ea"/>
                </a:rPr>
                <a:t>Movie Reviews with Sentiment</a:t>
              </a:r>
            </a:p>
          </p:txBody>
        </p:sp>
        <p:grpSp>
          <p:nvGrpSpPr>
            <p:cNvPr id="45" name="Group 44">
              <a:extLst>
                <a:ext uri="{FF2B5EF4-FFF2-40B4-BE49-F238E27FC236}">
                  <a16:creationId xmlns:a16="http://schemas.microsoft.com/office/drawing/2014/main" id="{F54191AC-7B24-892A-4EAD-362A86CFC211}"/>
                </a:ext>
              </a:extLst>
            </p:cNvPr>
            <p:cNvGrpSpPr/>
            <p:nvPr/>
          </p:nvGrpSpPr>
          <p:grpSpPr>
            <a:xfrm>
              <a:off x="2962654" y="3994072"/>
              <a:ext cx="2474012" cy="307259"/>
              <a:chOff x="386646" y="2923259"/>
              <a:chExt cx="1385365" cy="307259"/>
            </a:xfrm>
          </p:grpSpPr>
          <p:sp>
            <p:nvSpPr>
              <p:cNvPr id="46" name="Rectangle 45">
                <a:extLst>
                  <a:ext uri="{FF2B5EF4-FFF2-40B4-BE49-F238E27FC236}">
                    <a16:creationId xmlns:a16="http://schemas.microsoft.com/office/drawing/2014/main" id="{9938D6F2-C3AD-31E7-738E-FCF4B4A8A091}"/>
                  </a:ext>
                </a:extLst>
              </p:cNvPr>
              <p:cNvSpPr/>
              <p:nvPr/>
            </p:nvSpPr>
            <p:spPr bwMode="auto">
              <a:xfrm>
                <a:off x="386646" y="2923259"/>
                <a:ext cx="1240209" cy="307259"/>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47" name="TextBox 46">
                <a:extLst>
                  <a:ext uri="{FF2B5EF4-FFF2-40B4-BE49-F238E27FC236}">
                    <a16:creationId xmlns:a16="http://schemas.microsoft.com/office/drawing/2014/main" id="{9CD8C194-B299-AFFF-7089-3131676399FA}"/>
                  </a:ext>
                </a:extLst>
              </p:cNvPr>
              <p:cNvSpPr txBox="1"/>
              <p:nvPr/>
            </p:nvSpPr>
            <p:spPr>
              <a:xfrm>
                <a:off x="408800" y="2935007"/>
                <a:ext cx="1363211" cy="221018"/>
              </a:xfrm>
              <a:prstGeom prst="rect">
                <a:avLst/>
              </a:prstGeom>
              <a:noFill/>
            </p:spPr>
            <p:txBody>
              <a:bodyPr wrap="square" lIns="36000" tIns="36000" rIns="36000" bIns="0" rtlCol="0">
                <a:spAutoFit/>
              </a:bodyPr>
              <a:lstStyle/>
              <a:p>
                <a:r>
                  <a:rPr kumimoji="1" lang="en-US" sz="1200">
                    <a:latin typeface="+mn-lt"/>
                    <a:ea typeface="+mn-ea"/>
                  </a:rPr>
                  <a:t>Original Movie Metadata Data</a:t>
                </a:r>
              </a:p>
            </p:txBody>
          </p:sp>
        </p:grpSp>
        <p:cxnSp>
          <p:nvCxnSpPr>
            <p:cNvPr id="51" name="Straight Arrow Connector 50">
              <a:extLst>
                <a:ext uri="{FF2B5EF4-FFF2-40B4-BE49-F238E27FC236}">
                  <a16:creationId xmlns:a16="http://schemas.microsoft.com/office/drawing/2014/main" id="{B9D74ED2-EE3A-AE5F-86A1-2D17EBF09FA4}"/>
                </a:ext>
              </a:extLst>
            </p:cNvPr>
            <p:cNvCxnSpPr>
              <a:cxnSpLocks/>
            </p:cNvCxnSpPr>
            <p:nvPr/>
          </p:nvCxnSpPr>
          <p:spPr bwMode="auto">
            <a:xfrm>
              <a:off x="2812002" y="4471137"/>
              <a:ext cx="0" cy="250900"/>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Connector: Elbow 51">
              <a:extLst>
                <a:ext uri="{FF2B5EF4-FFF2-40B4-BE49-F238E27FC236}">
                  <a16:creationId xmlns:a16="http://schemas.microsoft.com/office/drawing/2014/main" id="{69D6D1DD-5923-71CE-8669-064D8A34099A}"/>
                </a:ext>
              </a:extLst>
            </p:cNvPr>
            <p:cNvCxnSpPr>
              <a:cxnSpLocks/>
            </p:cNvCxnSpPr>
            <p:nvPr/>
          </p:nvCxnSpPr>
          <p:spPr bwMode="auto">
            <a:xfrm rot="16200000" flipH="1">
              <a:off x="2884185" y="2977901"/>
              <a:ext cx="12700" cy="2646860"/>
            </a:xfrm>
            <a:prstGeom prst="bentConnector3">
              <a:avLst>
                <a:gd name="adj1" fmla="val 1320000"/>
              </a:avLst>
            </a:prstGeom>
            <a:solidFill>
              <a:srgbClr val="FF6600"/>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1" name="Group 60">
              <a:extLst>
                <a:ext uri="{FF2B5EF4-FFF2-40B4-BE49-F238E27FC236}">
                  <a16:creationId xmlns:a16="http://schemas.microsoft.com/office/drawing/2014/main" id="{9B089737-921B-C496-9FD6-FF389AA25491}"/>
                </a:ext>
              </a:extLst>
            </p:cNvPr>
            <p:cNvGrpSpPr/>
            <p:nvPr/>
          </p:nvGrpSpPr>
          <p:grpSpPr>
            <a:xfrm>
              <a:off x="1619737" y="4729613"/>
              <a:ext cx="2943280" cy="307259"/>
              <a:chOff x="386646" y="2923259"/>
              <a:chExt cx="1648139" cy="307259"/>
            </a:xfrm>
          </p:grpSpPr>
          <p:sp>
            <p:nvSpPr>
              <p:cNvPr id="62" name="Rectangle 61">
                <a:extLst>
                  <a:ext uri="{FF2B5EF4-FFF2-40B4-BE49-F238E27FC236}">
                    <a16:creationId xmlns:a16="http://schemas.microsoft.com/office/drawing/2014/main" id="{A5BF4539-491E-085D-0600-6A41E80088AB}"/>
                  </a:ext>
                </a:extLst>
              </p:cNvPr>
              <p:cNvSpPr/>
              <p:nvPr/>
            </p:nvSpPr>
            <p:spPr bwMode="auto">
              <a:xfrm>
                <a:off x="386646" y="2923259"/>
                <a:ext cx="1311058" cy="307259"/>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63" name="TextBox 62">
                <a:extLst>
                  <a:ext uri="{FF2B5EF4-FFF2-40B4-BE49-F238E27FC236}">
                    <a16:creationId xmlns:a16="http://schemas.microsoft.com/office/drawing/2014/main" id="{7909575C-D7C1-3ED7-0638-51A2B6267513}"/>
                  </a:ext>
                </a:extLst>
              </p:cNvPr>
              <p:cNvSpPr txBox="1"/>
              <p:nvPr/>
            </p:nvSpPr>
            <p:spPr>
              <a:xfrm>
                <a:off x="671574" y="2935007"/>
                <a:ext cx="1363211" cy="221018"/>
              </a:xfrm>
              <a:prstGeom prst="rect">
                <a:avLst/>
              </a:prstGeom>
              <a:noFill/>
            </p:spPr>
            <p:txBody>
              <a:bodyPr wrap="square" lIns="36000" tIns="36000" rIns="36000" bIns="0" rtlCol="0">
                <a:spAutoFit/>
              </a:bodyPr>
              <a:lstStyle/>
              <a:p>
                <a:r>
                  <a:rPr kumimoji="1" lang="en-US" sz="1200">
                    <a:latin typeface="+mn-lt"/>
                    <a:ea typeface="+mn-ea"/>
                  </a:rPr>
                  <a:t>Data Preprocessing</a:t>
                </a:r>
              </a:p>
            </p:txBody>
          </p:sp>
        </p:grpSp>
        <p:cxnSp>
          <p:nvCxnSpPr>
            <p:cNvPr id="64" name="Straight Arrow Connector 63">
              <a:extLst>
                <a:ext uri="{FF2B5EF4-FFF2-40B4-BE49-F238E27FC236}">
                  <a16:creationId xmlns:a16="http://schemas.microsoft.com/office/drawing/2014/main" id="{3771A3C5-8A69-A5A0-B12F-AC40A77C2E93}"/>
                </a:ext>
              </a:extLst>
            </p:cNvPr>
            <p:cNvCxnSpPr>
              <a:cxnSpLocks/>
            </p:cNvCxnSpPr>
            <p:nvPr/>
          </p:nvCxnSpPr>
          <p:spPr bwMode="auto">
            <a:xfrm>
              <a:off x="2812002" y="5032916"/>
              <a:ext cx="0" cy="250900"/>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5" name="Group 64">
              <a:extLst>
                <a:ext uri="{FF2B5EF4-FFF2-40B4-BE49-F238E27FC236}">
                  <a16:creationId xmlns:a16="http://schemas.microsoft.com/office/drawing/2014/main" id="{A7334C62-6A30-27F3-CDE3-B683B176B78A}"/>
                </a:ext>
              </a:extLst>
            </p:cNvPr>
            <p:cNvGrpSpPr/>
            <p:nvPr/>
          </p:nvGrpSpPr>
          <p:grpSpPr>
            <a:xfrm>
              <a:off x="1619737" y="5291392"/>
              <a:ext cx="2485283" cy="307259"/>
              <a:chOff x="386646" y="2923259"/>
              <a:chExt cx="1391676" cy="307259"/>
            </a:xfrm>
          </p:grpSpPr>
          <p:sp>
            <p:nvSpPr>
              <p:cNvPr id="66" name="Rectangle 65">
                <a:extLst>
                  <a:ext uri="{FF2B5EF4-FFF2-40B4-BE49-F238E27FC236}">
                    <a16:creationId xmlns:a16="http://schemas.microsoft.com/office/drawing/2014/main" id="{ABEF6333-1ADE-5E82-783F-ABB39E43F2B3}"/>
                  </a:ext>
                </a:extLst>
              </p:cNvPr>
              <p:cNvSpPr/>
              <p:nvPr/>
            </p:nvSpPr>
            <p:spPr bwMode="auto">
              <a:xfrm>
                <a:off x="386646" y="2923259"/>
                <a:ext cx="1311058" cy="307259"/>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67" name="TextBox 66">
                <a:extLst>
                  <a:ext uri="{FF2B5EF4-FFF2-40B4-BE49-F238E27FC236}">
                    <a16:creationId xmlns:a16="http://schemas.microsoft.com/office/drawing/2014/main" id="{70F452E8-9F35-7DA1-76DA-FB37DEC36BC0}"/>
                  </a:ext>
                </a:extLst>
              </p:cNvPr>
              <p:cNvSpPr txBox="1"/>
              <p:nvPr/>
            </p:nvSpPr>
            <p:spPr>
              <a:xfrm>
                <a:off x="415111" y="2935007"/>
                <a:ext cx="1363211" cy="221018"/>
              </a:xfrm>
              <a:prstGeom prst="rect">
                <a:avLst/>
              </a:prstGeom>
              <a:noFill/>
            </p:spPr>
            <p:txBody>
              <a:bodyPr wrap="square" lIns="36000" tIns="36000" rIns="36000" bIns="0" rtlCol="0">
                <a:spAutoFit/>
              </a:bodyPr>
              <a:lstStyle/>
              <a:p>
                <a:r>
                  <a:rPr kumimoji="1" lang="en-US" sz="1200">
                    <a:latin typeface="+mn-lt"/>
                    <a:ea typeface="+mn-ea"/>
                  </a:rPr>
                  <a:t>Feature Selection &amp; Engineering</a:t>
                </a:r>
              </a:p>
            </p:txBody>
          </p:sp>
        </p:grpSp>
        <p:cxnSp>
          <p:nvCxnSpPr>
            <p:cNvPr id="68" name="Straight Arrow Connector 67">
              <a:extLst>
                <a:ext uri="{FF2B5EF4-FFF2-40B4-BE49-F238E27FC236}">
                  <a16:creationId xmlns:a16="http://schemas.microsoft.com/office/drawing/2014/main" id="{5F944B85-2668-4B0B-6532-7B45B7E9C47A}"/>
                </a:ext>
              </a:extLst>
            </p:cNvPr>
            <p:cNvCxnSpPr>
              <a:cxnSpLocks/>
            </p:cNvCxnSpPr>
            <p:nvPr/>
          </p:nvCxnSpPr>
          <p:spPr bwMode="auto">
            <a:xfrm>
              <a:off x="2812002" y="5599825"/>
              <a:ext cx="0" cy="250900"/>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9" name="Group 68">
              <a:extLst>
                <a:ext uri="{FF2B5EF4-FFF2-40B4-BE49-F238E27FC236}">
                  <a16:creationId xmlns:a16="http://schemas.microsoft.com/office/drawing/2014/main" id="{BDE7173D-BF55-FB7B-0847-CC7AB19593B7}"/>
                </a:ext>
              </a:extLst>
            </p:cNvPr>
            <p:cNvGrpSpPr/>
            <p:nvPr/>
          </p:nvGrpSpPr>
          <p:grpSpPr>
            <a:xfrm>
              <a:off x="1619737" y="5858301"/>
              <a:ext cx="3107543" cy="307259"/>
              <a:chOff x="386646" y="2923259"/>
              <a:chExt cx="1740121" cy="307259"/>
            </a:xfrm>
          </p:grpSpPr>
          <p:sp>
            <p:nvSpPr>
              <p:cNvPr id="70" name="Rectangle 69">
                <a:extLst>
                  <a:ext uri="{FF2B5EF4-FFF2-40B4-BE49-F238E27FC236}">
                    <a16:creationId xmlns:a16="http://schemas.microsoft.com/office/drawing/2014/main" id="{DEBEDECE-B196-6D1C-577B-3046B7903BCA}"/>
                  </a:ext>
                </a:extLst>
              </p:cNvPr>
              <p:cNvSpPr/>
              <p:nvPr/>
            </p:nvSpPr>
            <p:spPr bwMode="auto">
              <a:xfrm>
                <a:off x="386646" y="2923259"/>
                <a:ext cx="1311058" cy="307259"/>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71" name="TextBox 70">
                <a:extLst>
                  <a:ext uri="{FF2B5EF4-FFF2-40B4-BE49-F238E27FC236}">
                    <a16:creationId xmlns:a16="http://schemas.microsoft.com/office/drawing/2014/main" id="{43B381E8-B107-33AE-AB8A-83AF411491FD}"/>
                  </a:ext>
                </a:extLst>
              </p:cNvPr>
              <p:cNvSpPr txBox="1"/>
              <p:nvPr/>
            </p:nvSpPr>
            <p:spPr>
              <a:xfrm>
                <a:off x="763556" y="2935007"/>
                <a:ext cx="1363211" cy="221018"/>
              </a:xfrm>
              <a:prstGeom prst="rect">
                <a:avLst/>
              </a:prstGeom>
              <a:noFill/>
            </p:spPr>
            <p:txBody>
              <a:bodyPr wrap="square" lIns="36000" tIns="36000" rIns="36000" bIns="0" rtlCol="0">
                <a:spAutoFit/>
              </a:bodyPr>
              <a:lstStyle/>
              <a:p>
                <a:r>
                  <a:rPr kumimoji="1" lang="en-US" sz="1200">
                    <a:latin typeface="+mn-lt"/>
                    <a:ea typeface="+mn-ea"/>
                  </a:rPr>
                  <a:t>Model Dataset</a:t>
                </a:r>
              </a:p>
            </p:txBody>
          </p:sp>
        </p:grpSp>
        <p:cxnSp>
          <p:nvCxnSpPr>
            <p:cNvPr id="75" name="Connector: Elbow 74">
              <a:extLst>
                <a:ext uri="{FF2B5EF4-FFF2-40B4-BE49-F238E27FC236}">
                  <a16:creationId xmlns:a16="http://schemas.microsoft.com/office/drawing/2014/main" id="{F5A91494-3F4F-6D0F-55AF-64B825FBDBB3}"/>
                </a:ext>
              </a:extLst>
            </p:cNvPr>
            <p:cNvCxnSpPr/>
            <p:nvPr/>
          </p:nvCxnSpPr>
          <p:spPr bwMode="auto">
            <a:xfrm>
              <a:off x="1561628" y="2205955"/>
              <a:ext cx="2652337" cy="1798835"/>
            </a:xfrm>
            <a:prstGeom prst="bentConnector3">
              <a:avLst>
                <a:gd name="adj1" fmla="val 10018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1" name="Straight Arrow Connector 80">
              <a:extLst>
                <a:ext uri="{FF2B5EF4-FFF2-40B4-BE49-F238E27FC236}">
                  <a16:creationId xmlns:a16="http://schemas.microsoft.com/office/drawing/2014/main" id="{0C8F65F9-DDCE-93D7-6584-4685D8989EC4}"/>
                </a:ext>
              </a:extLst>
            </p:cNvPr>
            <p:cNvCxnSpPr>
              <a:cxnSpLocks/>
            </p:cNvCxnSpPr>
            <p:nvPr/>
          </p:nvCxnSpPr>
          <p:spPr bwMode="auto">
            <a:xfrm>
              <a:off x="2809697" y="6154272"/>
              <a:ext cx="0" cy="250900"/>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9" name="Rectangle 78">
              <a:extLst>
                <a:ext uri="{FF2B5EF4-FFF2-40B4-BE49-F238E27FC236}">
                  <a16:creationId xmlns:a16="http://schemas.microsoft.com/office/drawing/2014/main" id="{C789C47E-103B-E69B-F517-60771C49A3BF}"/>
                </a:ext>
              </a:extLst>
            </p:cNvPr>
            <p:cNvSpPr/>
            <p:nvPr/>
          </p:nvSpPr>
          <p:spPr bwMode="auto">
            <a:xfrm>
              <a:off x="198456" y="1929482"/>
              <a:ext cx="5103122" cy="4322654"/>
            </a:xfrm>
            <a:prstGeom prst="rect">
              <a:avLst/>
            </a:prstGeom>
            <a:noFill/>
            <a:ln w="12700" cap="flat" cmpd="sng" algn="ctr">
              <a:solidFill>
                <a:schemeClr val="tx1"/>
              </a:solidFill>
              <a:prstDash val="dash"/>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grpSp>
          <p:nvGrpSpPr>
            <p:cNvPr id="97" name="Group 96">
              <a:extLst>
                <a:ext uri="{FF2B5EF4-FFF2-40B4-BE49-F238E27FC236}">
                  <a16:creationId xmlns:a16="http://schemas.microsoft.com/office/drawing/2014/main" id="{D55566E0-B6D3-291E-A7E7-C7ACBEE90938}"/>
                </a:ext>
              </a:extLst>
            </p:cNvPr>
            <p:cNvGrpSpPr/>
            <p:nvPr/>
          </p:nvGrpSpPr>
          <p:grpSpPr>
            <a:xfrm>
              <a:off x="198456" y="6399232"/>
              <a:ext cx="5103121" cy="260460"/>
              <a:chOff x="178240" y="6462258"/>
              <a:chExt cx="5123338" cy="313442"/>
            </a:xfrm>
          </p:grpSpPr>
          <p:sp>
            <p:nvSpPr>
              <p:cNvPr id="82" name="TextBox 81">
                <a:extLst>
                  <a:ext uri="{FF2B5EF4-FFF2-40B4-BE49-F238E27FC236}">
                    <a16:creationId xmlns:a16="http://schemas.microsoft.com/office/drawing/2014/main" id="{663D0429-3333-2E98-9396-6E79F8257EFB}"/>
                  </a:ext>
                </a:extLst>
              </p:cNvPr>
              <p:cNvSpPr txBox="1"/>
              <p:nvPr/>
            </p:nvSpPr>
            <p:spPr>
              <a:xfrm>
                <a:off x="1771449" y="6493161"/>
                <a:ext cx="2081105" cy="221018"/>
              </a:xfrm>
              <a:prstGeom prst="rect">
                <a:avLst/>
              </a:prstGeom>
              <a:noFill/>
            </p:spPr>
            <p:txBody>
              <a:bodyPr wrap="square" lIns="36000" tIns="36000" rIns="36000" bIns="0" rtlCol="0">
                <a:spAutoFit/>
              </a:bodyPr>
              <a:lstStyle/>
              <a:p>
                <a:r>
                  <a:rPr kumimoji="1" lang="en-US" sz="1200" i="1">
                    <a:solidFill>
                      <a:schemeClr val="tx1">
                        <a:lumMod val="40000"/>
                        <a:lumOff val="60000"/>
                      </a:schemeClr>
                    </a:solidFill>
                    <a:latin typeface="+mn-lt"/>
                    <a:ea typeface="+mn-ea"/>
                  </a:rPr>
                  <a:t>Model Selection &amp; Training</a:t>
                </a:r>
              </a:p>
            </p:txBody>
          </p:sp>
          <p:sp>
            <p:nvSpPr>
              <p:cNvPr id="80" name="Rectangle 79">
                <a:extLst>
                  <a:ext uri="{FF2B5EF4-FFF2-40B4-BE49-F238E27FC236}">
                    <a16:creationId xmlns:a16="http://schemas.microsoft.com/office/drawing/2014/main" id="{379439F0-5CE4-AE71-4A16-8F93661F86BE}"/>
                  </a:ext>
                </a:extLst>
              </p:cNvPr>
              <p:cNvSpPr/>
              <p:nvPr/>
            </p:nvSpPr>
            <p:spPr bwMode="auto">
              <a:xfrm>
                <a:off x="178240" y="6462258"/>
                <a:ext cx="5123338" cy="313442"/>
              </a:xfrm>
              <a:prstGeom prst="rect">
                <a:avLst/>
              </a:prstGeom>
              <a:noFill/>
              <a:ln w="12700" cap="flat" cmpd="sng" algn="ctr">
                <a:solidFill>
                  <a:schemeClr val="tx1"/>
                </a:solidFill>
                <a:prstDash val="dash"/>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grpSp>
      </p:grpSp>
      <p:sp>
        <p:nvSpPr>
          <p:cNvPr id="19" name="Rectangle 3">
            <a:extLst>
              <a:ext uri="{FF2B5EF4-FFF2-40B4-BE49-F238E27FC236}">
                <a16:creationId xmlns:a16="http://schemas.microsoft.com/office/drawing/2014/main" id="{3B28DD7A-A355-63C6-892C-523F0EEA0BC2}"/>
              </a:ext>
            </a:extLst>
          </p:cNvPr>
          <p:cNvSpPr txBox="1">
            <a:spLocks noChangeArrowheads="1"/>
          </p:cNvSpPr>
          <p:nvPr/>
        </p:nvSpPr>
        <p:spPr bwMode="auto">
          <a:xfrm>
            <a:off x="48429" y="6593346"/>
            <a:ext cx="4368701" cy="342383"/>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72000" rIns="72000" bIns="72000" numCol="1" anchor="b" anchorCtr="0" compatLnSpc="1">
            <a:prstTxWarp prst="textNoShape">
              <a:avLst/>
            </a:prstTxWarp>
            <a:spAutoFit/>
          </a:bodyPr>
          <a:lstStyle>
            <a:lvl1pPr algn="l" rtl="0" eaLnBrk="1" fontAlgn="base" hangingPunct="1">
              <a:spcBef>
                <a:spcPts val="600"/>
              </a:spcBef>
              <a:spcAft>
                <a:spcPct val="0"/>
              </a:spcAft>
              <a:defRPr kumimoji="1" sz="1600">
                <a:solidFill>
                  <a:schemeClr val="tx1"/>
                </a:solidFill>
                <a:latin typeface="+mn-lt"/>
                <a:ea typeface="+mn-ea"/>
                <a:cs typeface="メイリオ" pitchFamily="50" charset="-128"/>
              </a:defRPr>
            </a:lvl1pPr>
            <a:lvl2pPr marL="450850" indent="-196850" algn="l" rtl="0" eaLnBrk="1" fontAlgn="base" hangingPunct="1">
              <a:spcBef>
                <a:spcPts val="600"/>
              </a:spcBef>
              <a:spcAft>
                <a:spcPct val="0"/>
              </a:spcAft>
              <a:buSzPct val="90000"/>
              <a:buFont typeface="Arial" panose="020B0604020202020204" pitchFamily="34" charset="0"/>
              <a:buChar char="●"/>
              <a:defRPr kumimoji="1" sz="1600">
                <a:solidFill>
                  <a:schemeClr val="tx1"/>
                </a:solidFill>
                <a:latin typeface="+mn-lt"/>
                <a:ea typeface="+mn-ea"/>
                <a:cs typeface="メイリオ" pitchFamily="50" charset="-128"/>
              </a:defRPr>
            </a:lvl2pPr>
            <a:lvl3pPr marL="846138" indent="-179388" algn="l" rtl="0" eaLnBrk="1" fontAlgn="base" hangingPunct="1">
              <a:spcBef>
                <a:spcPts val="600"/>
              </a:spcBef>
              <a:spcAft>
                <a:spcPct val="0"/>
              </a:spcAft>
              <a:buSzPct val="90000"/>
              <a:buChar char="–"/>
              <a:defRPr kumimoji="1" sz="1600">
                <a:solidFill>
                  <a:schemeClr val="tx1"/>
                </a:solidFill>
                <a:latin typeface="+mn-lt"/>
                <a:ea typeface="+mn-ea"/>
                <a:cs typeface="メイリオ" pitchFamily="50" charset="-128"/>
              </a:defRPr>
            </a:lvl3pPr>
            <a:lvl4pPr marL="1228725" indent="-158750" algn="l" rtl="0" eaLnBrk="1" fontAlgn="base" hangingPunct="1">
              <a:spcBef>
                <a:spcPts val="600"/>
              </a:spcBef>
              <a:spcAft>
                <a:spcPct val="0"/>
              </a:spcAft>
              <a:buSzPct val="70000"/>
              <a:buFont typeface="Arial" panose="020B0604020202020204" pitchFamily="34" charset="0"/>
              <a:buChar char="○"/>
              <a:defRPr kumimoji="1" sz="1600">
                <a:solidFill>
                  <a:schemeClr val="tx1"/>
                </a:solidFill>
                <a:latin typeface="+mn-lt"/>
                <a:ea typeface="+mn-ea"/>
                <a:cs typeface="メイリオ" pitchFamily="50" charset="-128"/>
              </a:defRPr>
            </a:lvl4pPr>
            <a:lvl5pPr marL="1617663" indent="-176213" algn="l" rtl="0" eaLnBrk="1" fontAlgn="base" hangingPunct="1">
              <a:spcBef>
                <a:spcPts val="600"/>
              </a:spcBef>
              <a:spcAft>
                <a:spcPct val="0"/>
              </a:spcAft>
              <a:buSzPct val="70000"/>
              <a:buChar char="–"/>
              <a:defRPr kumimoji="1" sz="1600">
                <a:solidFill>
                  <a:schemeClr val="tx1"/>
                </a:solidFill>
                <a:latin typeface="+mn-lt"/>
                <a:ea typeface="+mn-ea"/>
                <a:cs typeface="メイリオ" pitchFamily="50" charset="-128"/>
              </a:defRPr>
            </a:lvl5pPr>
            <a:lvl6pPr marL="2038350" indent="0" algn="l" rtl="0" eaLnBrk="1" fontAlgn="base" hangingPunct="1">
              <a:spcBef>
                <a:spcPct val="30000"/>
              </a:spcBef>
              <a:spcAft>
                <a:spcPct val="0"/>
              </a:spcAft>
              <a:buSzPct val="70000"/>
              <a:buNone/>
              <a:defRPr kumimoji="1">
                <a:solidFill>
                  <a:schemeClr val="tx1"/>
                </a:solidFill>
                <a:latin typeface="+mn-lt"/>
                <a:ea typeface="+mn-ea"/>
              </a:defRPr>
            </a:lvl6pPr>
            <a:lvl7pPr marL="2724150" indent="-228600" algn="l" rtl="0" eaLnBrk="1" fontAlgn="base" hangingPunct="1">
              <a:spcBef>
                <a:spcPct val="30000"/>
              </a:spcBef>
              <a:spcAft>
                <a:spcPct val="0"/>
              </a:spcAft>
              <a:buSzPct val="70000"/>
              <a:buChar char="–"/>
              <a:defRPr kumimoji="1">
                <a:solidFill>
                  <a:schemeClr val="tx1"/>
                </a:solidFill>
                <a:latin typeface="+mn-lt"/>
                <a:ea typeface="+mn-ea"/>
              </a:defRPr>
            </a:lvl7pPr>
            <a:lvl8pPr marL="3181350" indent="-228600" algn="l" rtl="0" eaLnBrk="1" fontAlgn="base" hangingPunct="1">
              <a:spcBef>
                <a:spcPct val="30000"/>
              </a:spcBef>
              <a:spcAft>
                <a:spcPct val="0"/>
              </a:spcAft>
              <a:buSzPct val="70000"/>
              <a:buChar char="–"/>
              <a:defRPr kumimoji="1">
                <a:solidFill>
                  <a:schemeClr val="tx1"/>
                </a:solidFill>
                <a:latin typeface="+mn-lt"/>
                <a:ea typeface="+mn-ea"/>
              </a:defRPr>
            </a:lvl8pPr>
            <a:lvl9pPr marL="3638550" indent="-228600" algn="l" rtl="0" eaLnBrk="1" fontAlgn="base" hangingPunct="1">
              <a:spcBef>
                <a:spcPct val="30000"/>
              </a:spcBef>
              <a:spcAft>
                <a:spcPct val="0"/>
              </a:spcAft>
              <a:buSzPct val="70000"/>
              <a:buChar char="–"/>
              <a:defRPr kumimoji="1">
                <a:solidFill>
                  <a:schemeClr val="tx1"/>
                </a:solidFill>
                <a:latin typeface="+mn-lt"/>
                <a:ea typeface="+mn-ea"/>
              </a:defRPr>
            </a:lvl9pPr>
          </a:lstStyle>
          <a:p>
            <a:pPr defTabSz="538163">
              <a:lnSpc>
                <a:spcPct val="80000"/>
              </a:lnSpc>
              <a:spcBef>
                <a:spcPts val="0"/>
              </a:spcBef>
            </a:pPr>
            <a:r>
              <a:rPr lang="en-US" sz="800" baseline="30000">
                <a:latin typeface="+mn-lt"/>
                <a:ea typeface="+mn-ea"/>
              </a:rPr>
              <a:t>*</a:t>
            </a:r>
            <a:r>
              <a:rPr lang="en-US" altLang="ja-JP" sz="800">
                <a:cs typeface="Arial" panose="020B0604020202020204" pitchFamily="34" charset="0"/>
              </a:rPr>
              <a:t>   Excluded from the most recent sentiment analysis model</a:t>
            </a:r>
          </a:p>
          <a:p>
            <a:pPr defTabSz="538163">
              <a:lnSpc>
                <a:spcPct val="80000"/>
              </a:lnSpc>
              <a:spcBef>
                <a:spcPts val="0"/>
              </a:spcBef>
            </a:pPr>
            <a:r>
              <a:rPr lang="en-US" sz="800" baseline="30000">
                <a:latin typeface="+mn-lt"/>
                <a:ea typeface="+mn-ea"/>
              </a:rPr>
              <a:t>* *</a:t>
            </a:r>
            <a:r>
              <a:rPr lang="en-US" altLang="ja-JP" sz="800">
                <a:cs typeface="Arial" panose="020B0604020202020204" pitchFamily="34" charset="0"/>
              </a:rPr>
              <a:t> Basic data pre-processing used on sentiment generator for movie reviews</a:t>
            </a:r>
          </a:p>
        </p:txBody>
      </p:sp>
      <p:sp>
        <p:nvSpPr>
          <p:cNvPr id="8" name="TextBox 7">
            <a:extLst>
              <a:ext uri="{FF2B5EF4-FFF2-40B4-BE49-F238E27FC236}">
                <a16:creationId xmlns:a16="http://schemas.microsoft.com/office/drawing/2014/main" id="{6BDCE446-7E09-2718-AC95-D8D7BF356F5B}"/>
              </a:ext>
            </a:extLst>
          </p:cNvPr>
          <p:cNvSpPr txBox="1"/>
          <p:nvPr/>
        </p:nvSpPr>
        <p:spPr>
          <a:xfrm>
            <a:off x="6115549" y="5217609"/>
            <a:ext cx="3738135" cy="1236680"/>
          </a:xfrm>
          <a:prstGeom prst="rect">
            <a:avLst/>
          </a:prstGeom>
          <a:noFill/>
        </p:spPr>
        <p:txBody>
          <a:bodyPr wrap="square" lIns="36000" tIns="36000" rIns="36000" bIns="0" rtlCol="0">
            <a:spAutoFit/>
          </a:bodyPr>
          <a:lstStyle/>
          <a:p>
            <a:pPr marL="171450" indent="-171450">
              <a:buFont typeface="Arial" panose="020B0604020202020204" pitchFamily="34" charset="0"/>
              <a:buChar char="•"/>
            </a:pPr>
            <a:r>
              <a:rPr lang="en-US" sz="1400" dirty="0">
                <a:latin typeface="+mn-lt"/>
                <a:ea typeface="+mn-ea"/>
              </a:rPr>
              <a:t>Count Vectorizer (better than TF-IDF)</a:t>
            </a:r>
            <a:endParaRPr kumimoji="1" lang="en-US" sz="1400" dirty="0">
              <a:latin typeface="+mn-lt"/>
              <a:ea typeface="+mn-ea"/>
            </a:endParaRPr>
          </a:p>
          <a:p>
            <a:pPr marL="171450" indent="-171450">
              <a:buFont typeface="Arial" panose="020B0604020202020204" pitchFamily="34" charset="0"/>
              <a:buChar char="•"/>
            </a:pPr>
            <a:r>
              <a:rPr lang="en-US" sz="1400" dirty="0">
                <a:latin typeface="+mn-lt"/>
                <a:ea typeface="+mn-ea"/>
              </a:rPr>
              <a:t>Label encoding: </a:t>
            </a:r>
          </a:p>
          <a:p>
            <a:r>
              <a:rPr lang="en-US" sz="1400" dirty="0">
                <a:latin typeface="+mn-lt"/>
                <a:ea typeface="+mn-ea"/>
              </a:rPr>
              <a:t>    </a:t>
            </a:r>
            <a:r>
              <a:rPr lang="en-US" sz="1200" dirty="0">
                <a:latin typeface="+mn-lt"/>
                <a:ea typeface="+mn-ea"/>
              </a:rPr>
              <a:t>Sentiment Labels </a:t>
            </a:r>
            <a:r>
              <a:rPr lang="en-US" sz="1200" dirty="0">
                <a:latin typeface="+mn-lt"/>
                <a:ea typeface="+mn-ea"/>
                <a:sym typeface="Wingdings" panose="05000000000000000000" pitchFamily="2" charset="2"/>
              </a:rPr>
              <a:t></a:t>
            </a:r>
            <a:r>
              <a:rPr lang="en-US" sz="1200" dirty="0">
                <a:latin typeface="+mn-lt"/>
                <a:ea typeface="+mn-ea"/>
              </a:rPr>
              <a:t> Numbers </a:t>
            </a:r>
          </a:p>
          <a:p>
            <a:pPr marL="742950" lvl="1" indent="-285750">
              <a:buFont typeface="Courier New" panose="02070309020205020404" pitchFamily="49" charset="0"/>
              <a:buChar char="o"/>
            </a:pPr>
            <a:r>
              <a:rPr lang="en-US" sz="1200" dirty="0">
                <a:latin typeface="+mn-lt"/>
                <a:ea typeface="+mn-ea"/>
              </a:rPr>
              <a:t>0: Negative</a:t>
            </a:r>
          </a:p>
          <a:p>
            <a:pPr marL="742950" lvl="1" indent="-285750">
              <a:buFont typeface="Courier New" panose="02070309020205020404" pitchFamily="49" charset="0"/>
              <a:buChar char="o"/>
            </a:pPr>
            <a:r>
              <a:rPr kumimoji="1" lang="en-US" sz="1200" dirty="0">
                <a:latin typeface="+mn-lt"/>
                <a:ea typeface="+mn-ea"/>
              </a:rPr>
              <a:t>1: </a:t>
            </a:r>
            <a:r>
              <a:rPr lang="en-US" sz="1200" dirty="0">
                <a:latin typeface="+mn-lt"/>
                <a:ea typeface="+mn-ea"/>
              </a:rPr>
              <a:t>Neutral</a:t>
            </a:r>
            <a:endParaRPr kumimoji="1" lang="en-US" sz="1200" dirty="0">
              <a:latin typeface="+mn-lt"/>
              <a:ea typeface="+mn-ea"/>
            </a:endParaRPr>
          </a:p>
          <a:p>
            <a:pPr marL="742950" lvl="1" indent="-285750">
              <a:buFont typeface="Courier New" panose="02070309020205020404" pitchFamily="49" charset="0"/>
              <a:buChar char="o"/>
            </a:pPr>
            <a:r>
              <a:rPr lang="en-US" sz="1200" dirty="0">
                <a:latin typeface="+mn-lt"/>
                <a:ea typeface="+mn-ea"/>
              </a:rPr>
              <a:t>2</a:t>
            </a:r>
            <a:r>
              <a:rPr lang="en-US" sz="1200">
                <a:latin typeface="+mn-lt"/>
                <a:ea typeface="+mn-ea"/>
              </a:rPr>
              <a:t>: Positive</a:t>
            </a:r>
            <a:endParaRPr kumimoji="1" lang="en-US" sz="1200" dirty="0">
              <a:latin typeface="+mn-lt"/>
              <a:ea typeface="+mn-ea"/>
            </a:endParaRPr>
          </a:p>
        </p:txBody>
      </p:sp>
      <p:sp>
        <p:nvSpPr>
          <p:cNvPr id="15" name="Rectangle 14">
            <a:extLst>
              <a:ext uri="{FF2B5EF4-FFF2-40B4-BE49-F238E27FC236}">
                <a16:creationId xmlns:a16="http://schemas.microsoft.com/office/drawing/2014/main" id="{56B31BA0-A1C5-E089-F866-328C197D2A40}"/>
              </a:ext>
            </a:extLst>
          </p:cNvPr>
          <p:cNvSpPr/>
          <p:nvPr/>
        </p:nvSpPr>
        <p:spPr bwMode="auto">
          <a:xfrm>
            <a:off x="5651260" y="2532604"/>
            <a:ext cx="452061" cy="2521704"/>
          </a:xfrm>
          <a:prstGeom prst="rect">
            <a:avLst/>
          </a:prstGeom>
          <a:solidFill>
            <a:schemeClr val="tx2"/>
          </a:solidFill>
          <a:ln w="12700" cap="flat" cmpd="sng" algn="ctr">
            <a:noFill/>
            <a:prstDash val="solid"/>
            <a:round/>
            <a:headEnd type="none" w="med" len="med"/>
            <a:tailEnd type="none" w="med" len="med"/>
          </a:ln>
          <a:effectLst/>
        </p:spPr>
        <p:txBody>
          <a:bodyPr vert="vert270"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400" b="0" i="0" u="none" strike="noStrike" cap="none" normalizeH="0" baseline="0">
                <a:ln>
                  <a:noFill/>
                </a:ln>
                <a:solidFill>
                  <a:schemeClr val="bg1"/>
                </a:solidFill>
                <a:effectLst/>
                <a:latin typeface="+mn-lt"/>
                <a:ea typeface="+mn-ea"/>
              </a:rPr>
              <a:t>Data Pre-Processing</a:t>
            </a:r>
          </a:p>
        </p:txBody>
      </p:sp>
      <p:sp>
        <p:nvSpPr>
          <p:cNvPr id="16" name="Rectangle 15">
            <a:extLst>
              <a:ext uri="{FF2B5EF4-FFF2-40B4-BE49-F238E27FC236}">
                <a16:creationId xmlns:a16="http://schemas.microsoft.com/office/drawing/2014/main" id="{4B3DF188-59A0-D229-8A85-424D6B655C55}"/>
              </a:ext>
            </a:extLst>
          </p:cNvPr>
          <p:cNvSpPr/>
          <p:nvPr/>
        </p:nvSpPr>
        <p:spPr bwMode="auto">
          <a:xfrm>
            <a:off x="5651260" y="5164475"/>
            <a:ext cx="452061" cy="1534587"/>
          </a:xfrm>
          <a:prstGeom prst="rect">
            <a:avLst/>
          </a:prstGeom>
          <a:solidFill>
            <a:schemeClr val="tx2"/>
          </a:solidFill>
          <a:ln w="12700" cap="flat" cmpd="sng" algn="ctr">
            <a:noFill/>
            <a:prstDash val="solid"/>
            <a:round/>
            <a:headEnd type="none" w="med" len="med"/>
            <a:tailEnd type="none" w="med" len="med"/>
          </a:ln>
          <a:effectLst/>
        </p:spPr>
        <p:txBody>
          <a:bodyPr vert="vert270"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400" b="0" i="0" u="none" strike="noStrike" cap="none" normalizeH="0" baseline="0">
                <a:ln>
                  <a:noFill/>
                </a:ln>
                <a:solidFill>
                  <a:schemeClr val="bg1"/>
                </a:solidFill>
                <a:effectLst/>
                <a:latin typeface="+mn-lt"/>
                <a:ea typeface="+mn-ea"/>
              </a:rPr>
              <a:t>Feature </a:t>
            </a:r>
            <a:r>
              <a:rPr lang="en-US" sz="1400">
                <a:solidFill>
                  <a:schemeClr val="bg1"/>
                </a:solidFill>
                <a:latin typeface="+mn-lt"/>
                <a:ea typeface="+mn-ea"/>
              </a:rPr>
              <a:t>Selection </a:t>
            </a:r>
          </a:p>
          <a:p>
            <a:pPr marL="0" marR="0" indent="0" algn="ctr" defTabSz="914400" rtl="0" eaLnBrk="1" fontAlgn="base" latinLnBrk="0" hangingPunct="1">
              <a:lnSpc>
                <a:spcPct val="100000"/>
              </a:lnSpc>
              <a:spcBef>
                <a:spcPct val="0"/>
              </a:spcBef>
              <a:spcAft>
                <a:spcPct val="0"/>
              </a:spcAft>
              <a:buClrTx/>
              <a:buSzTx/>
              <a:buFontTx/>
              <a:buNone/>
              <a:tabLst/>
            </a:pPr>
            <a:r>
              <a:rPr lang="en-US" sz="1400">
                <a:solidFill>
                  <a:schemeClr val="bg1"/>
                </a:solidFill>
                <a:latin typeface="+mn-lt"/>
                <a:ea typeface="+mn-ea"/>
              </a:rPr>
              <a:t>&amp; Engineering</a:t>
            </a:r>
            <a:endParaRPr kumimoji="1" lang="en-US" sz="1400" b="0" i="0" u="none" strike="noStrike" cap="none" normalizeH="0" baseline="0">
              <a:ln>
                <a:noFill/>
              </a:ln>
              <a:solidFill>
                <a:schemeClr val="bg1"/>
              </a:solidFill>
              <a:effectLst/>
              <a:latin typeface="+mn-lt"/>
              <a:ea typeface="+mn-ea"/>
            </a:endParaRPr>
          </a:p>
        </p:txBody>
      </p:sp>
      <p:sp>
        <p:nvSpPr>
          <p:cNvPr id="17" name="TextBox 16">
            <a:extLst>
              <a:ext uri="{FF2B5EF4-FFF2-40B4-BE49-F238E27FC236}">
                <a16:creationId xmlns:a16="http://schemas.microsoft.com/office/drawing/2014/main" id="{445FCCD8-46AB-2B62-6012-A0ABB96968F8}"/>
              </a:ext>
            </a:extLst>
          </p:cNvPr>
          <p:cNvSpPr txBox="1"/>
          <p:nvPr/>
        </p:nvSpPr>
        <p:spPr>
          <a:xfrm>
            <a:off x="6176509" y="1216107"/>
            <a:ext cx="3525202" cy="898126"/>
          </a:xfrm>
          <a:prstGeom prst="rect">
            <a:avLst/>
          </a:prstGeom>
          <a:noFill/>
        </p:spPr>
        <p:txBody>
          <a:bodyPr wrap="square" lIns="36000" tIns="36000" rIns="36000" bIns="0" rtlCol="0">
            <a:spAutoFit/>
          </a:bodyPr>
          <a:lstStyle/>
          <a:p>
            <a:pPr marL="285750" indent="-285750">
              <a:buFont typeface="Arial" panose="020B0604020202020204" pitchFamily="34" charset="0"/>
              <a:buChar char="•"/>
            </a:pPr>
            <a:r>
              <a:rPr lang="en-US" sz="1400" err="1">
                <a:latin typeface="+mn-lt"/>
                <a:ea typeface="+mn-ea"/>
              </a:rPr>
              <a:t>RoBERTa</a:t>
            </a:r>
            <a:r>
              <a:rPr lang="en-US" sz="1400">
                <a:latin typeface="+mn-lt"/>
                <a:ea typeface="+mn-ea"/>
              </a:rPr>
              <a:t> Sentiment Model for generating sentiment labels on movie reviews since it </a:t>
            </a:r>
            <a:r>
              <a:rPr kumimoji="1" lang="en-US" sz="1400">
                <a:latin typeface="+mn-lt"/>
                <a:ea typeface="+mn-ea"/>
              </a:rPr>
              <a:t>has higher accuracy </a:t>
            </a:r>
            <a:r>
              <a:rPr lang="en-US" sz="1400">
                <a:latin typeface="+mn-lt"/>
                <a:ea typeface="+mn-ea"/>
              </a:rPr>
              <a:t>than Vader</a:t>
            </a:r>
            <a:endParaRPr kumimoji="1" lang="en-US" sz="1400">
              <a:latin typeface="+mn-lt"/>
              <a:ea typeface="+mn-ea"/>
            </a:endParaRPr>
          </a:p>
        </p:txBody>
      </p:sp>
      <p:cxnSp>
        <p:nvCxnSpPr>
          <p:cNvPr id="22" name="Straight Connector 21">
            <a:extLst>
              <a:ext uri="{FF2B5EF4-FFF2-40B4-BE49-F238E27FC236}">
                <a16:creationId xmlns:a16="http://schemas.microsoft.com/office/drawing/2014/main" id="{0A542E17-F61A-BEC5-08B8-A82A66618EA1}"/>
              </a:ext>
            </a:extLst>
          </p:cNvPr>
          <p:cNvCxnSpPr/>
          <p:nvPr/>
        </p:nvCxnSpPr>
        <p:spPr bwMode="auto">
          <a:xfrm flipH="1">
            <a:off x="5616561" y="2470173"/>
            <a:ext cx="4130943" cy="0"/>
          </a:xfrm>
          <a:prstGeom prst="line">
            <a:avLst/>
          </a:prstGeom>
          <a:solidFill>
            <a:srgbClr val="FF6600"/>
          </a:solidFill>
          <a:ln w="12700" cap="flat" cmpd="sng" algn="ctr">
            <a:solidFill>
              <a:schemeClr val="tx1">
                <a:lumMod val="40000"/>
                <a:lumOff val="6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a:extLst>
              <a:ext uri="{FF2B5EF4-FFF2-40B4-BE49-F238E27FC236}">
                <a16:creationId xmlns:a16="http://schemas.microsoft.com/office/drawing/2014/main" id="{BEA13302-EC43-9E97-E4A0-64D6A1E06259}"/>
              </a:ext>
            </a:extLst>
          </p:cNvPr>
          <p:cNvCxnSpPr/>
          <p:nvPr/>
        </p:nvCxnSpPr>
        <p:spPr bwMode="auto">
          <a:xfrm flipH="1">
            <a:off x="5616561" y="5109393"/>
            <a:ext cx="4183678" cy="0"/>
          </a:xfrm>
          <a:prstGeom prst="line">
            <a:avLst/>
          </a:prstGeom>
          <a:solidFill>
            <a:srgbClr val="FF6600"/>
          </a:solidFill>
          <a:ln w="12700" cap="flat" cmpd="sng" algn="ctr">
            <a:solidFill>
              <a:schemeClr val="tx1">
                <a:lumMod val="40000"/>
                <a:lumOff val="6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1031472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83659-DB42-72B6-6546-23D886B5F561}"/>
              </a:ext>
            </a:extLst>
          </p:cNvPr>
          <p:cNvSpPr>
            <a:spLocks noGrp="1"/>
          </p:cNvSpPr>
          <p:nvPr>
            <p:ph type="title"/>
          </p:nvPr>
        </p:nvSpPr>
        <p:spPr/>
        <p:txBody>
          <a:bodyPr/>
          <a:lstStyle/>
          <a:p>
            <a:r>
              <a:rPr lang="en-US"/>
              <a:t>Data Pipeline (3/3) : Model Building and Evaluation</a:t>
            </a:r>
          </a:p>
        </p:txBody>
      </p:sp>
      <p:grpSp>
        <p:nvGrpSpPr>
          <p:cNvPr id="6" name="グループ化 3">
            <a:extLst>
              <a:ext uri="{FF2B5EF4-FFF2-40B4-BE49-F238E27FC236}">
                <a16:creationId xmlns:a16="http://schemas.microsoft.com/office/drawing/2014/main" id="{EAD5A4FF-E655-C2FE-60B3-06BFAAC88B3F}"/>
              </a:ext>
            </a:extLst>
          </p:cNvPr>
          <p:cNvGrpSpPr/>
          <p:nvPr/>
        </p:nvGrpSpPr>
        <p:grpSpPr>
          <a:xfrm>
            <a:off x="5651260" y="828247"/>
            <a:ext cx="4056285" cy="299821"/>
            <a:chOff x="1016089" y="1463947"/>
            <a:chExt cx="2016000" cy="318926"/>
          </a:xfrm>
        </p:grpSpPr>
        <p:sp>
          <p:nvSpPr>
            <p:cNvPr id="7" name="Rectangle 2">
              <a:extLst>
                <a:ext uri="{FF2B5EF4-FFF2-40B4-BE49-F238E27FC236}">
                  <a16:creationId xmlns:a16="http://schemas.microsoft.com/office/drawing/2014/main" id="{EAF88D4E-8558-5B08-4B1A-E3CFE1E3FBC0}"/>
                </a:ext>
              </a:extLst>
            </p:cNvPr>
            <p:cNvSpPr>
              <a:spLocks noChangeArrowheads="1"/>
            </p:cNvSpPr>
            <p:nvPr/>
          </p:nvSpPr>
          <p:spPr bwMode="auto">
            <a:xfrm>
              <a:off x="1848398" y="1463947"/>
              <a:ext cx="351395" cy="318924"/>
            </a:xfrm>
            <a:prstGeom prst="rect">
              <a:avLst/>
            </a:prstGeom>
            <a:noFill/>
            <a:ln w="9525">
              <a:noFill/>
              <a:miter lim="800000"/>
              <a:headEnd/>
              <a:tailEnd/>
            </a:ln>
            <a:effectLst/>
          </p:spPr>
          <p:txBody>
            <a:bodyPr wrap="none" lIns="36000" tIns="36000" rIns="36000" bIns="36000" anchor="b"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1600" b="1" i="0" u="none" strike="noStrike" kern="1200" cap="none" spc="0" normalizeH="0" baseline="0" noProof="0">
                  <a:ln>
                    <a:noFill/>
                  </a:ln>
                  <a:solidFill>
                    <a:srgbClr val="4A4A4A"/>
                  </a:solidFill>
                  <a:effectLst/>
                  <a:uLnTx/>
                  <a:uFillTx/>
                  <a:latin typeface="+mj-lt"/>
                  <a:ea typeface="Meiryo UI"/>
                </a:rPr>
                <a:t>Details</a:t>
              </a:r>
              <a:endParaRPr kumimoji="1" lang="ja-JP" altLang="en-US" sz="1600" b="1" i="0" u="none" strike="noStrike" kern="1200" cap="none" spc="0" normalizeH="0" baseline="0" noProof="0">
                <a:ln>
                  <a:noFill/>
                </a:ln>
                <a:solidFill>
                  <a:srgbClr val="4A4A4A"/>
                </a:solidFill>
                <a:effectLst/>
                <a:uLnTx/>
                <a:uFillTx/>
                <a:latin typeface="+mj-lt"/>
                <a:ea typeface="Meiryo UI"/>
              </a:endParaRPr>
            </a:p>
          </p:txBody>
        </p:sp>
        <p:cxnSp>
          <p:nvCxnSpPr>
            <p:cNvPr id="8" name="直線コネクタ 4">
              <a:extLst>
                <a:ext uri="{FF2B5EF4-FFF2-40B4-BE49-F238E27FC236}">
                  <a16:creationId xmlns:a16="http://schemas.microsoft.com/office/drawing/2014/main" id="{978C38A4-5604-9F6B-9D18-F620D3DD3E9D}"/>
                </a:ext>
              </a:extLst>
            </p:cNvPr>
            <p:cNvCxnSpPr/>
            <p:nvPr/>
          </p:nvCxnSpPr>
          <p:spPr bwMode="auto">
            <a:xfrm>
              <a:off x="1016089" y="1782873"/>
              <a:ext cx="2016000" cy="0"/>
            </a:xfrm>
            <a:prstGeom prst="line">
              <a:avLst/>
            </a:prstGeom>
            <a:solidFill>
              <a:srgbClr val="FF6600"/>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40" name="Group 39">
            <a:extLst>
              <a:ext uri="{FF2B5EF4-FFF2-40B4-BE49-F238E27FC236}">
                <a16:creationId xmlns:a16="http://schemas.microsoft.com/office/drawing/2014/main" id="{F76FF565-8357-EBB0-720F-4936B8B22082}"/>
              </a:ext>
            </a:extLst>
          </p:cNvPr>
          <p:cNvGrpSpPr/>
          <p:nvPr/>
        </p:nvGrpSpPr>
        <p:grpSpPr>
          <a:xfrm>
            <a:off x="198456" y="1345463"/>
            <a:ext cx="9607460" cy="5213024"/>
            <a:chOff x="198456" y="1461211"/>
            <a:chExt cx="9607460" cy="5213024"/>
          </a:xfrm>
        </p:grpSpPr>
        <p:sp>
          <p:nvSpPr>
            <p:cNvPr id="5" name="Rectangle 4">
              <a:extLst>
                <a:ext uri="{FF2B5EF4-FFF2-40B4-BE49-F238E27FC236}">
                  <a16:creationId xmlns:a16="http://schemas.microsoft.com/office/drawing/2014/main" id="{FCCB7B40-9EC7-C3F0-A608-13106A27C705}"/>
                </a:ext>
              </a:extLst>
            </p:cNvPr>
            <p:cNvSpPr/>
            <p:nvPr/>
          </p:nvSpPr>
          <p:spPr bwMode="auto">
            <a:xfrm>
              <a:off x="198456" y="1506039"/>
              <a:ext cx="5103122" cy="719469"/>
            </a:xfrm>
            <a:prstGeom prst="rect">
              <a:avLst/>
            </a:prstGeom>
            <a:noFill/>
            <a:ln w="12700" cap="flat" cmpd="sng" algn="ctr">
              <a:solidFill>
                <a:schemeClr val="tx1"/>
              </a:solidFill>
              <a:prstDash val="dash"/>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sp>
          <p:nvSpPr>
            <p:cNvPr id="14" name="TextBox 13">
              <a:extLst>
                <a:ext uri="{FF2B5EF4-FFF2-40B4-BE49-F238E27FC236}">
                  <a16:creationId xmlns:a16="http://schemas.microsoft.com/office/drawing/2014/main" id="{E1F0423E-9869-5856-7936-A612CC599463}"/>
                </a:ext>
              </a:extLst>
            </p:cNvPr>
            <p:cNvSpPr txBox="1"/>
            <p:nvPr/>
          </p:nvSpPr>
          <p:spPr>
            <a:xfrm>
              <a:off x="257821" y="2475524"/>
              <a:ext cx="2081105" cy="221018"/>
            </a:xfrm>
            <a:prstGeom prst="rect">
              <a:avLst/>
            </a:prstGeom>
            <a:noFill/>
          </p:spPr>
          <p:txBody>
            <a:bodyPr wrap="square" lIns="36000" tIns="36000" rIns="36000" bIns="0" rtlCol="0">
              <a:spAutoFit/>
            </a:bodyPr>
            <a:lstStyle/>
            <a:p>
              <a:r>
                <a:rPr kumimoji="1" lang="en-US" sz="1200" i="1">
                  <a:solidFill>
                    <a:schemeClr val="bg1">
                      <a:lumMod val="65000"/>
                    </a:schemeClr>
                  </a:solidFill>
                  <a:latin typeface="+mn-lt"/>
                  <a:ea typeface="+mn-ea"/>
                </a:rPr>
                <a:t>Model Selection &amp; Training</a:t>
              </a:r>
            </a:p>
          </p:txBody>
        </p:sp>
        <p:sp>
          <p:nvSpPr>
            <p:cNvPr id="15" name="Rectangle 14">
              <a:extLst>
                <a:ext uri="{FF2B5EF4-FFF2-40B4-BE49-F238E27FC236}">
                  <a16:creationId xmlns:a16="http://schemas.microsoft.com/office/drawing/2014/main" id="{E76101ED-A0AE-96C3-3E6B-E58DB7B71C73}"/>
                </a:ext>
              </a:extLst>
            </p:cNvPr>
            <p:cNvSpPr/>
            <p:nvPr/>
          </p:nvSpPr>
          <p:spPr bwMode="auto">
            <a:xfrm>
              <a:off x="198456" y="2457005"/>
              <a:ext cx="5103122" cy="3507259"/>
            </a:xfrm>
            <a:prstGeom prst="rect">
              <a:avLst/>
            </a:prstGeom>
            <a:noFill/>
            <a:ln w="12700" cap="flat" cmpd="sng" algn="ctr">
              <a:solidFill>
                <a:schemeClr val="tx1"/>
              </a:solidFill>
              <a:prstDash val="dash"/>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grpSp>
          <p:nvGrpSpPr>
            <p:cNvPr id="19" name="Group 18">
              <a:extLst>
                <a:ext uri="{FF2B5EF4-FFF2-40B4-BE49-F238E27FC236}">
                  <a16:creationId xmlns:a16="http://schemas.microsoft.com/office/drawing/2014/main" id="{ECB696E0-173A-790D-32C0-0C4458285BCF}"/>
                </a:ext>
              </a:extLst>
            </p:cNvPr>
            <p:cNvGrpSpPr/>
            <p:nvPr/>
          </p:nvGrpSpPr>
          <p:grpSpPr>
            <a:xfrm>
              <a:off x="1209751" y="1708481"/>
              <a:ext cx="2341314" cy="307259"/>
              <a:chOff x="1578678" y="1837910"/>
              <a:chExt cx="2341314" cy="307259"/>
            </a:xfrm>
          </p:grpSpPr>
          <p:sp>
            <p:nvSpPr>
              <p:cNvPr id="17" name="Rectangle 16">
                <a:extLst>
                  <a:ext uri="{FF2B5EF4-FFF2-40B4-BE49-F238E27FC236}">
                    <a16:creationId xmlns:a16="http://schemas.microsoft.com/office/drawing/2014/main" id="{43C484F3-AA85-7B8B-BF52-E72EBFC396BF}"/>
                  </a:ext>
                </a:extLst>
              </p:cNvPr>
              <p:cNvSpPr/>
              <p:nvPr/>
            </p:nvSpPr>
            <p:spPr bwMode="auto">
              <a:xfrm>
                <a:off x="1578678" y="1837910"/>
                <a:ext cx="2341314" cy="307259"/>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18" name="TextBox 17">
                <a:extLst>
                  <a:ext uri="{FF2B5EF4-FFF2-40B4-BE49-F238E27FC236}">
                    <a16:creationId xmlns:a16="http://schemas.microsoft.com/office/drawing/2014/main" id="{F9211A94-7310-2D7B-BEB3-7E9C28F93C44}"/>
                  </a:ext>
                </a:extLst>
              </p:cNvPr>
              <p:cNvSpPr txBox="1"/>
              <p:nvPr/>
            </p:nvSpPr>
            <p:spPr>
              <a:xfrm>
                <a:off x="1619251" y="1849658"/>
                <a:ext cx="2213610" cy="221018"/>
              </a:xfrm>
              <a:prstGeom prst="rect">
                <a:avLst/>
              </a:prstGeom>
              <a:noFill/>
            </p:spPr>
            <p:txBody>
              <a:bodyPr wrap="square" lIns="36000" tIns="36000" rIns="36000" bIns="0" rtlCol="0">
                <a:spAutoFit/>
              </a:bodyPr>
              <a:lstStyle/>
              <a:p>
                <a:pPr algn="ctr"/>
                <a:r>
                  <a:rPr kumimoji="1" lang="en-US" sz="1200">
                    <a:latin typeface="+mn-lt"/>
                    <a:ea typeface="+mn-ea"/>
                  </a:rPr>
                  <a:t>Model Dataset</a:t>
                </a:r>
              </a:p>
            </p:txBody>
          </p:sp>
        </p:grpSp>
        <p:sp>
          <p:nvSpPr>
            <p:cNvPr id="24" name="Rectangle 23">
              <a:extLst>
                <a:ext uri="{FF2B5EF4-FFF2-40B4-BE49-F238E27FC236}">
                  <a16:creationId xmlns:a16="http://schemas.microsoft.com/office/drawing/2014/main" id="{6AAE8881-0C12-E0C4-9B54-690FB3D493C7}"/>
                </a:ext>
              </a:extLst>
            </p:cNvPr>
            <p:cNvSpPr/>
            <p:nvPr/>
          </p:nvSpPr>
          <p:spPr bwMode="auto">
            <a:xfrm>
              <a:off x="381000" y="2875534"/>
              <a:ext cx="3933408" cy="2436476"/>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sp>
          <p:nvSpPr>
            <p:cNvPr id="25" name="Rectangle 24">
              <a:extLst>
                <a:ext uri="{FF2B5EF4-FFF2-40B4-BE49-F238E27FC236}">
                  <a16:creationId xmlns:a16="http://schemas.microsoft.com/office/drawing/2014/main" id="{CFF57458-C221-9C02-F8E4-99CA3647C1F5}"/>
                </a:ext>
              </a:extLst>
            </p:cNvPr>
            <p:cNvSpPr/>
            <p:nvPr/>
          </p:nvSpPr>
          <p:spPr bwMode="auto">
            <a:xfrm>
              <a:off x="630146" y="3105940"/>
              <a:ext cx="3397567" cy="1348150"/>
            </a:xfrm>
            <a:prstGeom prst="rect">
              <a:avLst/>
            </a:prstGeom>
            <a:solidFill>
              <a:schemeClr val="bg1"/>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sp>
          <p:nvSpPr>
            <p:cNvPr id="26" name="TextBox 25">
              <a:extLst>
                <a:ext uri="{FF2B5EF4-FFF2-40B4-BE49-F238E27FC236}">
                  <a16:creationId xmlns:a16="http://schemas.microsoft.com/office/drawing/2014/main" id="{4A5DAABD-AA32-7007-4F9D-EA588C7FB110}"/>
                </a:ext>
              </a:extLst>
            </p:cNvPr>
            <p:cNvSpPr txBox="1"/>
            <p:nvPr/>
          </p:nvSpPr>
          <p:spPr>
            <a:xfrm>
              <a:off x="382739" y="2834478"/>
              <a:ext cx="1596399" cy="221018"/>
            </a:xfrm>
            <a:prstGeom prst="rect">
              <a:avLst/>
            </a:prstGeom>
            <a:noFill/>
          </p:spPr>
          <p:txBody>
            <a:bodyPr wrap="square" lIns="36000" tIns="36000" rIns="36000" bIns="0" rtlCol="0">
              <a:spAutoFit/>
            </a:bodyPr>
            <a:lstStyle/>
            <a:p>
              <a:r>
                <a:rPr lang="en-US" sz="1200">
                  <a:latin typeface="+mn-lt"/>
                  <a:ea typeface="+mn-ea"/>
                </a:rPr>
                <a:t>Model Building</a:t>
              </a:r>
            </a:p>
          </p:txBody>
        </p:sp>
        <p:cxnSp>
          <p:nvCxnSpPr>
            <p:cNvPr id="27" name="Connector: Elbow 26">
              <a:extLst>
                <a:ext uri="{FF2B5EF4-FFF2-40B4-BE49-F238E27FC236}">
                  <a16:creationId xmlns:a16="http://schemas.microsoft.com/office/drawing/2014/main" id="{96FC21D2-7381-7FD1-9643-A45576568DEF}"/>
                </a:ext>
              </a:extLst>
            </p:cNvPr>
            <p:cNvCxnSpPr>
              <a:cxnSpLocks/>
              <a:stCxn id="30" idx="0"/>
              <a:endCxn id="29" idx="0"/>
            </p:cNvCxnSpPr>
            <p:nvPr/>
          </p:nvCxnSpPr>
          <p:spPr bwMode="auto">
            <a:xfrm rot="5400000" flipH="1" flipV="1">
              <a:off x="2333319" y="2622670"/>
              <a:ext cx="12700" cy="1962961"/>
            </a:xfrm>
            <a:prstGeom prst="bentConnector3">
              <a:avLst>
                <a:gd name="adj1" fmla="val 1800000"/>
              </a:avLst>
            </a:prstGeom>
            <a:solidFill>
              <a:srgbClr val="FF6600"/>
            </a:solidFill>
            <a:ln w="19050"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TextBox 28">
              <a:extLst>
                <a:ext uri="{FF2B5EF4-FFF2-40B4-BE49-F238E27FC236}">
                  <a16:creationId xmlns:a16="http://schemas.microsoft.com/office/drawing/2014/main" id="{94907A01-1A25-E460-B380-1959B6707637}"/>
                </a:ext>
              </a:extLst>
            </p:cNvPr>
            <p:cNvSpPr txBox="1"/>
            <p:nvPr/>
          </p:nvSpPr>
          <p:spPr>
            <a:xfrm>
              <a:off x="2834344" y="3604150"/>
              <a:ext cx="960912" cy="405683"/>
            </a:xfrm>
            <a:prstGeom prst="rect">
              <a:avLst/>
            </a:prstGeom>
            <a:solidFill>
              <a:schemeClr val="tx2">
                <a:lumMod val="20000"/>
                <a:lumOff val="80000"/>
              </a:schemeClr>
            </a:solidFill>
          </p:spPr>
          <p:txBody>
            <a:bodyPr wrap="square" lIns="36000" tIns="36000" rIns="36000" bIns="0" rtlCol="0">
              <a:spAutoFit/>
            </a:bodyPr>
            <a:lstStyle/>
            <a:p>
              <a:pPr algn="ctr"/>
              <a:r>
                <a:rPr kumimoji="1" lang="en-US" sz="1200">
                  <a:latin typeface="+mn-lt"/>
                  <a:ea typeface="+mn-ea"/>
                </a:rPr>
                <a:t>Testing</a:t>
              </a:r>
            </a:p>
            <a:p>
              <a:pPr algn="ctr"/>
              <a:r>
                <a:rPr lang="en-US" sz="1200">
                  <a:latin typeface="+mn-lt"/>
                  <a:ea typeface="+mn-ea"/>
                </a:rPr>
                <a:t>Data</a:t>
              </a:r>
              <a:endParaRPr kumimoji="1" lang="en-US" sz="1200">
                <a:latin typeface="+mn-lt"/>
                <a:ea typeface="+mn-ea"/>
              </a:endParaRPr>
            </a:p>
          </p:txBody>
        </p:sp>
        <p:sp>
          <p:nvSpPr>
            <p:cNvPr id="30" name="TextBox 29">
              <a:extLst>
                <a:ext uri="{FF2B5EF4-FFF2-40B4-BE49-F238E27FC236}">
                  <a16:creationId xmlns:a16="http://schemas.microsoft.com/office/drawing/2014/main" id="{0F773E4A-A157-62FB-DB84-FB4B17EE1AF0}"/>
                </a:ext>
              </a:extLst>
            </p:cNvPr>
            <p:cNvSpPr txBox="1"/>
            <p:nvPr/>
          </p:nvSpPr>
          <p:spPr>
            <a:xfrm>
              <a:off x="845019" y="3604150"/>
              <a:ext cx="1013640" cy="405683"/>
            </a:xfrm>
            <a:prstGeom prst="rect">
              <a:avLst/>
            </a:prstGeom>
            <a:solidFill>
              <a:schemeClr val="tx2">
                <a:lumMod val="20000"/>
                <a:lumOff val="80000"/>
              </a:schemeClr>
            </a:solidFill>
          </p:spPr>
          <p:txBody>
            <a:bodyPr wrap="square" lIns="36000" tIns="36000" rIns="36000" bIns="0" rtlCol="0">
              <a:spAutoFit/>
            </a:bodyPr>
            <a:lstStyle/>
            <a:p>
              <a:pPr algn="ctr"/>
              <a:r>
                <a:rPr kumimoji="1" lang="en-US" sz="1200">
                  <a:latin typeface="+mn-lt"/>
                  <a:ea typeface="+mn-ea"/>
                </a:rPr>
                <a:t>Training </a:t>
              </a:r>
            </a:p>
            <a:p>
              <a:pPr algn="ctr"/>
              <a:r>
                <a:rPr lang="en-US" sz="1200">
                  <a:latin typeface="+mn-lt"/>
                  <a:ea typeface="+mn-ea"/>
                </a:rPr>
                <a:t>Data</a:t>
              </a:r>
              <a:r>
                <a:rPr kumimoji="1" lang="en-US" sz="1200">
                  <a:latin typeface="+mn-lt"/>
                  <a:ea typeface="+mn-ea"/>
                </a:rPr>
                <a:t> </a:t>
              </a:r>
            </a:p>
          </p:txBody>
        </p:sp>
        <p:cxnSp>
          <p:nvCxnSpPr>
            <p:cNvPr id="32" name="Straight Arrow Connector 31">
              <a:extLst>
                <a:ext uri="{FF2B5EF4-FFF2-40B4-BE49-F238E27FC236}">
                  <a16:creationId xmlns:a16="http://schemas.microsoft.com/office/drawing/2014/main" id="{62FEF289-05D7-E15D-AAC3-A844F7234811}"/>
                </a:ext>
              </a:extLst>
            </p:cNvPr>
            <p:cNvCxnSpPr/>
            <p:nvPr/>
          </p:nvCxnSpPr>
          <p:spPr bwMode="auto">
            <a:xfrm>
              <a:off x="2392197" y="4235543"/>
              <a:ext cx="0" cy="558800"/>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Connector: Elbow 32">
              <a:extLst>
                <a:ext uri="{FF2B5EF4-FFF2-40B4-BE49-F238E27FC236}">
                  <a16:creationId xmlns:a16="http://schemas.microsoft.com/office/drawing/2014/main" id="{C342B4FC-0441-E9E9-D724-2947E72F13E1}"/>
                </a:ext>
              </a:extLst>
            </p:cNvPr>
            <p:cNvCxnSpPr>
              <a:stCxn id="30" idx="2"/>
              <a:endCxn id="29" idx="2"/>
            </p:cNvCxnSpPr>
            <p:nvPr/>
          </p:nvCxnSpPr>
          <p:spPr bwMode="auto">
            <a:xfrm rot="16200000" flipH="1">
              <a:off x="2333319" y="3028352"/>
              <a:ext cx="12700" cy="1962961"/>
            </a:xfrm>
            <a:prstGeom prst="bentConnector3">
              <a:avLst>
                <a:gd name="adj1" fmla="val 1800000"/>
              </a:avLst>
            </a:prstGeom>
            <a:solidFill>
              <a:srgbClr val="FF6600"/>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TextBox 33">
              <a:extLst>
                <a:ext uri="{FF2B5EF4-FFF2-40B4-BE49-F238E27FC236}">
                  <a16:creationId xmlns:a16="http://schemas.microsoft.com/office/drawing/2014/main" id="{95822498-F409-1E72-74A9-348F814E8A20}"/>
                </a:ext>
              </a:extLst>
            </p:cNvPr>
            <p:cNvSpPr txBox="1"/>
            <p:nvPr/>
          </p:nvSpPr>
          <p:spPr>
            <a:xfrm>
              <a:off x="689854" y="3069986"/>
              <a:ext cx="1027154" cy="205629"/>
            </a:xfrm>
            <a:prstGeom prst="rect">
              <a:avLst/>
            </a:prstGeom>
            <a:noFill/>
          </p:spPr>
          <p:txBody>
            <a:bodyPr wrap="square" lIns="36000" tIns="36000" rIns="36000" bIns="0" rtlCol="0">
              <a:spAutoFit/>
            </a:bodyPr>
            <a:lstStyle/>
            <a:p>
              <a:r>
                <a:rPr lang="en-US" sz="1100">
                  <a:latin typeface="+mn-lt"/>
                  <a:ea typeface="+mn-ea"/>
                </a:rPr>
                <a:t>Train-Test Split</a:t>
              </a:r>
            </a:p>
          </p:txBody>
        </p:sp>
        <p:grpSp>
          <p:nvGrpSpPr>
            <p:cNvPr id="68" name="Group 67">
              <a:extLst>
                <a:ext uri="{FF2B5EF4-FFF2-40B4-BE49-F238E27FC236}">
                  <a16:creationId xmlns:a16="http://schemas.microsoft.com/office/drawing/2014/main" id="{A8A9DD93-29AE-23FE-AC53-FE4883AE5944}"/>
                </a:ext>
              </a:extLst>
            </p:cNvPr>
            <p:cNvGrpSpPr/>
            <p:nvPr/>
          </p:nvGrpSpPr>
          <p:grpSpPr>
            <a:xfrm>
              <a:off x="1399244" y="4835590"/>
              <a:ext cx="1985906" cy="341876"/>
              <a:chOff x="2122461" y="4855566"/>
              <a:chExt cx="1985906" cy="341876"/>
            </a:xfrm>
          </p:grpSpPr>
          <p:sp>
            <p:nvSpPr>
              <p:cNvPr id="36" name="Rectangle 35">
                <a:extLst>
                  <a:ext uri="{FF2B5EF4-FFF2-40B4-BE49-F238E27FC236}">
                    <a16:creationId xmlns:a16="http://schemas.microsoft.com/office/drawing/2014/main" id="{B0D538C7-973E-EE8F-E030-21B2B7475AD7}"/>
                  </a:ext>
                </a:extLst>
              </p:cNvPr>
              <p:cNvSpPr/>
              <p:nvPr/>
            </p:nvSpPr>
            <p:spPr bwMode="auto">
              <a:xfrm>
                <a:off x="2122461" y="4855566"/>
                <a:ext cx="1985906" cy="341876"/>
              </a:xfrm>
              <a:prstGeom prst="rect">
                <a:avLst/>
              </a:prstGeom>
              <a:solidFill>
                <a:schemeClr val="bg1"/>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0" i="0" u="none" strike="noStrike" cap="none" normalizeH="0" baseline="0">
                  <a:ln>
                    <a:noFill/>
                  </a:ln>
                  <a:solidFill>
                    <a:schemeClr val="tx2"/>
                  </a:solidFill>
                  <a:effectLst/>
                  <a:latin typeface="+mn-lt"/>
                  <a:ea typeface="+mn-ea"/>
                </a:endParaRPr>
              </a:p>
            </p:txBody>
          </p:sp>
          <p:sp>
            <p:nvSpPr>
              <p:cNvPr id="37" name="TextBox 36">
                <a:extLst>
                  <a:ext uri="{FF2B5EF4-FFF2-40B4-BE49-F238E27FC236}">
                    <a16:creationId xmlns:a16="http://schemas.microsoft.com/office/drawing/2014/main" id="{8C732DDC-57E5-B81C-E7F2-81B11CF32F89}"/>
                  </a:ext>
                </a:extLst>
              </p:cNvPr>
              <p:cNvSpPr txBox="1"/>
              <p:nvPr/>
            </p:nvSpPr>
            <p:spPr>
              <a:xfrm>
                <a:off x="2146743" y="4893551"/>
                <a:ext cx="1957647" cy="221018"/>
              </a:xfrm>
              <a:prstGeom prst="rect">
                <a:avLst/>
              </a:prstGeom>
              <a:noFill/>
            </p:spPr>
            <p:txBody>
              <a:bodyPr wrap="square" lIns="36000" tIns="36000" rIns="36000" bIns="0" rtlCol="0">
                <a:spAutoFit/>
              </a:bodyPr>
              <a:lstStyle/>
              <a:p>
                <a:pPr algn="ctr"/>
                <a:r>
                  <a:rPr lang="en-US" sz="1200">
                    <a:solidFill>
                      <a:schemeClr val="tx2"/>
                    </a:solidFill>
                    <a:latin typeface="+mn-lt"/>
                    <a:ea typeface="+mn-ea"/>
                  </a:rPr>
                  <a:t>Model</a:t>
                </a:r>
              </a:p>
            </p:txBody>
          </p:sp>
        </p:grpSp>
        <p:cxnSp>
          <p:nvCxnSpPr>
            <p:cNvPr id="44" name="Straight Connector 43">
              <a:extLst>
                <a:ext uri="{FF2B5EF4-FFF2-40B4-BE49-F238E27FC236}">
                  <a16:creationId xmlns:a16="http://schemas.microsoft.com/office/drawing/2014/main" id="{5C9E2843-D5C1-05D9-7F06-B95C4143BA02}"/>
                </a:ext>
              </a:extLst>
            </p:cNvPr>
            <p:cNvCxnSpPr>
              <a:cxnSpLocks/>
            </p:cNvCxnSpPr>
            <p:nvPr/>
          </p:nvCxnSpPr>
          <p:spPr bwMode="auto">
            <a:xfrm>
              <a:off x="2380408" y="2015740"/>
              <a:ext cx="0" cy="1366614"/>
            </a:xfrm>
            <a:prstGeom prst="line">
              <a:avLst/>
            </a:prstGeom>
            <a:solidFill>
              <a:srgbClr val="FF6600"/>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7" name="Group 46">
              <a:extLst>
                <a:ext uri="{FF2B5EF4-FFF2-40B4-BE49-F238E27FC236}">
                  <a16:creationId xmlns:a16="http://schemas.microsoft.com/office/drawing/2014/main" id="{4FE1B92A-5B14-D546-ADFC-D6839CF5B995}"/>
                </a:ext>
              </a:extLst>
            </p:cNvPr>
            <p:cNvGrpSpPr/>
            <p:nvPr/>
          </p:nvGrpSpPr>
          <p:grpSpPr>
            <a:xfrm>
              <a:off x="1168268" y="5515595"/>
              <a:ext cx="2341314" cy="307259"/>
              <a:chOff x="1578678" y="1837910"/>
              <a:chExt cx="2341314" cy="307259"/>
            </a:xfrm>
          </p:grpSpPr>
          <p:sp>
            <p:nvSpPr>
              <p:cNvPr id="48" name="Rectangle 47">
                <a:extLst>
                  <a:ext uri="{FF2B5EF4-FFF2-40B4-BE49-F238E27FC236}">
                    <a16:creationId xmlns:a16="http://schemas.microsoft.com/office/drawing/2014/main" id="{84FAF74A-749B-9789-5022-B5CC1D18BED9}"/>
                  </a:ext>
                </a:extLst>
              </p:cNvPr>
              <p:cNvSpPr/>
              <p:nvPr/>
            </p:nvSpPr>
            <p:spPr bwMode="auto">
              <a:xfrm>
                <a:off x="1578678" y="1837910"/>
                <a:ext cx="2341314" cy="307259"/>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49" name="TextBox 48">
                <a:extLst>
                  <a:ext uri="{FF2B5EF4-FFF2-40B4-BE49-F238E27FC236}">
                    <a16:creationId xmlns:a16="http://schemas.microsoft.com/office/drawing/2014/main" id="{52D558D5-CAD0-094E-6B00-CC856DEB9033}"/>
                  </a:ext>
                </a:extLst>
              </p:cNvPr>
              <p:cNvSpPr txBox="1"/>
              <p:nvPr/>
            </p:nvSpPr>
            <p:spPr>
              <a:xfrm>
                <a:off x="1619251" y="1849658"/>
                <a:ext cx="2213610" cy="221018"/>
              </a:xfrm>
              <a:prstGeom prst="rect">
                <a:avLst/>
              </a:prstGeom>
              <a:noFill/>
            </p:spPr>
            <p:txBody>
              <a:bodyPr wrap="square" lIns="36000" tIns="36000" rIns="36000" bIns="0" rtlCol="0">
                <a:spAutoFit/>
              </a:bodyPr>
              <a:lstStyle/>
              <a:p>
                <a:pPr algn="ctr"/>
                <a:r>
                  <a:rPr kumimoji="1" lang="en-US" sz="1200">
                    <a:latin typeface="+mn-lt"/>
                    <a:ea typeface="+mn-ea"/>
                  </a:rPr>
                  <a:t>Model Evaluation</a:t>
                </a:r>
              </a:p>
            </p:txBody>
          </p:sp>
        </p:grpSp>
        <p:cxnSp>
          <p:nvCxnSpPr>
            <p:cNvPr id="53" name="Straight Arrow Connector 52">
              <a:extLst>
                <a:ext uri="{FF2B5EF4-FFF2-40B4-BE49-F238E27FC236}">
                  <a16:creationId xmlns:a16="http://schemas.microsoft.com/office/drawing/2014/main" id="{8C59161B-E234-F270-C9E2-F3DA7038320D}"/>
                </a:ext>
              </a:extLst>
            </p:cNvPr>
            <p:cNvCxnSpPr>
              <a:cxnSpLocks/>
            </p:cNvCxnSpPr>
            <p:nvPr/>
          </p:nvCxnSpPr>
          <p:spPr bwMode="auto">
            <a:xfrm>
              <a:off x="2380408" y="5186560"/>
              <a:ext cx="0" cy="340783"/>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6" name="Rectangle 55">
              <a:extLst>
                <a:ext uri="{FF2B5EF4-FFF2-40B4-BE49-F238E27FC236}">
                  <a16:creationId xmlns:a16="http://schemas.microsoft.com/office/drawing/2014/main" id="{3C7A6BD0-90EE-F67B-3516-256ADB5F0C4D}"/>
                </a:ext>
              </a:extLst>
            </p:cNvPr>
            <p:cNvSpPr/>
            <p:nvPr/>
          </p:nvSpPr>
          <p:spPr bwMode="auto">
            <a:xfrm>
              <a:off x="5651260" y="1461211"/>
              <a:ext cx="452061" cy="1414322"/>
            </a:xfrm>
            <a:prstGeom prst="rect">
              <a:avLst/>
            </a:prstGeom>
            <a:solidFill>
              <a:schemeClr val="tx2"/>
            </a:solidFill>
            <a:ln w="12700" cap="flat" cmpd="sng" algn="ctr">
              <a:noFill/>
              <a:prstDash val="solid"/>
              <a:round/>
              <a:headEnd type="none" w="med" len="med"/>
              <a:tailEnd type="none" w="med" len="med"/>
            </a:ln>
            <a:effectLst/>
          </p:spPr>
          <p:txBody>
            <a:bodyPr vert="vert270"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400" b="0" i="0" u="none" strike="noStrike" cap="none" normalizeH="0" baseline="0">
                  <a:ln>
                    <a:noFill/>
                  </a:ln>
                  <a:solidFill>
                    <a:schemeClr val="bg1"/>
                  </a:solidFill>
                  <a:effectLst/>
                  <a:latin typeface="+mn-lt"/>
                  <a:ea typeface="+mn-ea"/>
                </a:rPr>
                <a:t>Model Creation</a:t>
              </a:r>
            </a:p>
          </p:txBody>
        </p:sp>
        <p:cxnSp>
          <p:nvCxnSpPr>
            <p:cNvPr id="69" name="Connector: Elbow 68">
              <a:extLst>
                <a:ext uri="{FF2B5EF4-FFF2-40B4-BE49-F238E27FC236}">
                  <a16:creationId xmlns:a16="http://schemas.microsoft.com/office/drawing/2014/main" id="{A106A6DF-123F-CA6C-EC6A-02958ECC4AE1}"/>
                </a:ext>
              </a:extLst>
            </p:cNvPr>
            <p:cNvCxnSpPr>
              <a:cxnSpLocks/>
            </p:cNvCxnSpPr>
            <p:nvPr/>
          </p:nvCxnSpPr>
          <p:spPr bwMode="auto">
            <a:xfrm rot="10800000" flipH="1">
              <a:off x="3509582" y="4102361"/>
              <a:ext cx="804824" cy="1575453"/>
            </a:xfrm>
            <a:prstGeom prst="bentConnector3">
              <a:avLst>
                <a:gd name="adj1" fmla="val 152389"/>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0" name="TextBox 69">
              <a:extLst>
                <a:ext uri="{FF2B5EF4-FFF2-40B4-BE49-F238E27FC236}">
                  <a16:creationId xmlns:a16="http://schemas.microsoft.com/office/drawing/2014/main" id="{A729D434-4578-EB03-EC4B-C0262BB22BEE}"/>
                </a:ext>
              </a:extLst>
            </p:cNvPr>
            <p:cNvSpPr txBox="1"/>
            <p:nvPr/>
          </p:nvSpPr>
          <p:spPr>
            <a:xfrm rot="5400000" flipH="1">
              <a:off x="4002313" y="4717725"/>
              <a:ext cx="1514490" cy="405683"/>
            </a:xfrm>
            <a:prstGeom prst="rect">
              <a:avLst/>
            </a:prstGeom>
            <a:noFill/>
          </p:spPr>
          <p:txBody>
            <a:bodyPr wrap="square" lIns="36000" tIns="36000" rIns="36000" bIns="0" rtlCol="0">
              <a:spAutoFit/>
            </a:bodyPr>
            <a:lstStyle/>
            <a:p>
              <a:pPr algn="ctr"/>
              <a:r>
                <a:rPr kumimoji="1" lang="en-US" sz="1200">
                  <a:latin typeface="+mn-lt"/>
                  <a:ea typeface="+mn-ea"/>
                </a:rPr>
                <a:t>Hyperparameter Tuning</a:t>
              </a:r>
            </a:p>
          </p:txBody>
        </p:sp>
        <p:sp>
          <p:nvSpPr>
            <p:cNvPr id="13" name="TextBox 12">
              <a:extLst>
                <a:ext uri="{FF2B5EF4-FFF2-40B4-BE49-F238E27FC236}">
                  <a16:creationId xmlns:a16="http://schemas.microsoft.com/office/drawing/2014/main" id="{1648B700-F83B-0BE9-28F6-234DD5B4574A}"/>
                </a:ext>
              </a:extLst>
            </p:cNvPr>
            <p:cNvSpPr txBox="1"/>
            <p:nvPr/>
          </p:nvSpPr>
          <p:spPr>
            <a:xfrm>
              <a:off x="6317914" y="1518970"/>
              <a:ext cx="3272291" cy="1113570"/>
            </a:xfrm>
            <a:prstGeom prst="rect">
              <a:avLst/>
            </a:prstGeom>
            <a:noFill/>
          </p:spPr>
          <p:txBody>
            <a:bodyPr wrap="square" lIns="36000" tIns="36000" rIns="36000" bIns="0" rtlCol="0">
              <a:spAutoFit/>
            </a:bodyPr>
            <a:lstStyle/>
            <a:p>
              <a:pPr marL="285750" indent="-285750">
                <a:buFont typeface="Arial" panose="020B0604020202020204" pitchFamily="34" charset="0"/>
                <a:buChar char="•"/>
              </a:pPr>
              <a:r>
                <a:rPr lang="en-US" sz="1400">
                  <a:latin typeface="+mn-lt"/>
                  <a:ea typeface="+mn-ea"/>
                </a:rPr>
                <a:t>Employed </a:t>
              </a:r>
              <a:r>
                <a:rPr lang="en-US" sz="1400" b="1">
                  <a:latin typeface="+mn-lt"/>
                  <a:ea typeface="+mn-ea"/>
                </a:rPr>
                <a:t>Multinomial Naïve Bayes </a:t>
              </a:r>
              <a:r>
                <a:rPr lang="en-US" sz="1400">
                  <a:latin typeface="+mn-lt"/>
                  <a:ea typeface="+mn-ea"/>
                </a:rPr>
                <a:t>for the initial model as it is robust for overfitting</a:t>
              </a:r>
            </a:p>
            <a:p>
              <a:pPr marL="285750" indent="-285750">
                <a:buFont typeface="Arial" panose="020B0604020202020204" pitchFamily="34" charset="0"/>
                <a:buChar char="•"/>
              </a:pPr>
              <a:r>
                <a:rPr lang="en-US" sz="1400">
                  <a:latin typeface="+mn-lt"/>
                  <a:ea typeface="+mn-ea"/>
                </a:rPr>
                <a:t>Percentage of training data : 80%</a:t>
              </a:r>
              <a:endParaRPr kumimoji="1" lang="en-US" sz="1400">
                <a:latin typeface="+mn-lt"/>
                <a:ea typeface="+mn-ea"/>
              </a:endParaRPr>
            </a:p>
            <a:p>
              <a:endParaRPr kumimoji="1" lang="en-US" sz="1400">
                <a:latin typeface="+mn-lt"/>
                <a:ea typeface="+mn-ea"/>
              </a:endParaRPr>
            </a:p>
          </p:txBody>
        </p:sp>
        <p:cxnSp>
          <p:nvCxnSpPr>
            <p:cNvPr id="12" name="Straight Arrow Connector 11">
              <a:extLst>
                <a:ext uri="{FF2B5EF4-FFF2-40B4-BE49-F238E27FC236}">
                  <a16:creationId xmlns:a16="http://schemas.microsoft.com/office/drawing/2014/main" id="{806EEFD1-595D-17C8-9898-777231CA134E}"/>
                </a:ext>
              </a:extLst>
            </p:cNvPr>
            <p:cNvCxnSpPr>
              <a:cxnSpLocks/>
            </p:cNvCxnSpPr>
            <p:nvPr/>
          </p:nvCxnSpPr>
          <p:spPr bwMode="auto">
            <a:xfrm>
              <a:off x="2380408" y="5822854"/>
              <a:ext cx="0" cy="340783"/>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6" name="Group 15">
              <a:extLst>
                <a:ext uri="{FF2B5EF4-FFF2-40B4-BE49-F238E27FC236}">
                  <a16:creationId xmlns:a16="http://schemas.microsoft.com/office/drawing/2014/main" id="{D5870E25-23D7-58A9-3026-48A90560B3F8}"/>
                </a:ext>
              </a:extLst>
            </p:cNvPr>
            <p:cNvGrpSpPr/>
            <p:nvPr/>
          </p:nvGrpSpPr>
          <p:grpSpPr>
            <a:xfrm>
              <a:off x="1168268" y="6175326"/>
              <a:ext cx="2341314" cy="498909"/>
              <a:chOff x="1578678" y="1837910"/>
              <a:chExt cx="2341314" cy="498909"/>
            </a:xfrm>
          </p:grpSpPr>
          <p:sp>
            <p:nvSpPr>
              <p:cNvPr id="20" name="Rectangle 19">
                <a:extLst>
                  <a:ext uri="{FF2B5EF4-FFF2-40B4-BE49-F238E27FC236}">
                    <a16:creationId xmlns:a16="http://schemas.microsoft.com/office/drawing/2014/main" id="{32FB1D1E-80DE-49DD-3570-1E7926B1582C}"/>
                  </a:ext>
                </a:extLst>
              </p:cNvPr>
              <p:cNvSpPr/>
              <p:nvPr/>
            </p:nvSpPr>
            <p:spPr bwMode="auto">
              <a:xfrm>
                <a:off x="1578678" y="1837910"/>
                <a:ext cx="2341314" cy="498909"/>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21" name="TextBox 20">
                <a:extLst>
                  <a:ext uri="{FF2B5EF4-FFF2-40B4-BE49-F238E27FC236}">
                    <a16:creationId xmlns:a16="http://schemas.microsoft.com/office/drawing/2014/main" id="{6F516CA5-FD91-6D3D-1382-2328F9066062}"/>
                  </a:ext>
                </a:extLst>
              </p:cNvPr>
              <p:cNvSpPr txBox="1"/>
              <p:nvPr/>
            </p:nvSpPr>
            <p:spPr>
              <a:xfrm>
                <a:off x="1619251" y="1849658"/>
                <a:ext cx="2213610" cy="405683"/>
              </a:xfrm>
              <a:prstGeom prst="rect">
                <a:avLst/>
              </a:prstGeom>
              <a:noFill/>
            </p:spPr>
            <p:txBody>
              <a:bodyPr wrap="square" lIns="36000" tIns="36000" rIns="36000" bIns="0" rtlCol="0">
                <a:spAutoFit/>
              </a:bodyPr>
              <a:lstStyle/>
              <a:p>
                <a:pPr algn="ctr"/>
                <a:r>
                  <a:rPr kumimoji="1" lang="en-US" sz="1200">
                    <a:latin typeface="+mn-lt"/>
                    <a:ea typeface="+mn-ea"/>
                  </a:rPr>
                  <a:t>Tuned Sentiment Analysis Model</a:t>
                </a:r>
              </a:p>
            </p:txBody>
          </p:sp>
        </p:grpSp>
        <p:sp>
          <p:nvSpPr>
            <p:cNvPr id="3" name="Rectangle 2">
              <a:extLst>
                <a:ext uri="{FF2B5EF4-FFF2-40B4-BE49-F238E27FC236}">
                  <a16:creationId xmlns:a16="http://schemas.microsoft.com/office/drawing/2014/main" id="{9A4C5EF5-458C-B659-7D91-A24E807B2C57}"/>
                </a:ext>
              </a:extLst>
            </p:cNvPr>
            <p:cNvSpPr/>
            <p:nvPr/>
          </p:nvSpPr>
          <p:spPr bwMode="auto">
            <a:xfrm>
              <a:off x="5651260" y="3094127"/>
              <a:ext cx="452061" cy="1710583"/>
            </a:xfrm>
            <a:prstGeom prst="rect">
              <a:avLst/>
            </a:prstGeom>
            <a:solidFill>
              <a:schemeClr val="tx2"/>
            </a:solidFill>
            <a:ln w="12700" cap="flat" cmpd="sng" algn="ctr">
              <a:noFill/>
              <a:prstDash val="solid"/>
              <a:round/>
              <a:headEnd type="none" w="med" len="med"/>
              <a:tailEnd type="none" w="med" len="med"/>
            </a:ln>
            <a:effectLst/>
          </p:spPr>
          <p:txBody>
            <a:bodyPr vert="vert270"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400" b="0" i="0" u="none" strike="noStrike" cap="none" normalizeH="0" baseline="0">
                  <a:ln>
                    <a:noFill/>
                  </a:ln>
                  <a:solidFill>
                    <a:schemeClr val="bg1"/>
                  </a:solidFill>
                  <a:effectLst/>
                  <a:latin typeface="+mn-lt"/>
                  <a:ea typeface="+mn-ea"/>
                </a:rPr>
                <a:t>Model Evaluation</a:t>
              </a:r>
            </a:p>
          </p:txBody>
        </p:sp>
        <p:sp>
          <p:nvSpPr>
            <p:cNvPr id="22" name="Rectangle 21">
              <a:extLst>
                <a:ext uri="{FF2B5EF4-FFF2-40B4-BE49-F238E27FC236}">
                  <a16:creationId xmlns:a16="http://schemas.microsoft.com/office/drawing/2014/main" id="{FE4F25D1-2D22-9559-1853-C76935BE10ED}"/>
                </a:ext>
              </a:extLst>
            </p:cNvPr>
            <p:cNvSpPr/>
            <p:nvPr/>
          </p:nvSpPr>
          <p:spPr bwMode="auto">
            <a:xfrm>
              <a:off x="5651260" y="5023304"/>
              <a:ext cx="452061" cy="1650927"/>
            </a:xfrm>
            <a:prstGeom prst="rect">
              <a:avLst/>
            </a:prstGeom>
            <a:solidFill>
              <a:schemeClr val="tx2"/>
            </a:solidFill>
            <a:ln w="12700" cap="flat" cmpd="sng" algn="ctr">
              <a:noFill/>
              <a:prstDash val="solid"/>
              <a:round/>
              <a:headEnd type="none" w="med" len="med"/>
              <a:tailEnd type="none" w="med" len="med"/>
            </a:ln>
            <a:effectLst/>
          </p:spPr>
          <p:txBody>
            <a:bodyPr vert="vert270"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400" b="0" i="0" u="none" strike="noStrike" cap="none" normalizeH="0" baseline="0">
                  <a:ln>
                    <a:noFill/>
                  </a:ln>
                  <a:solidFill>
                    <a:schemeClr val="bg1"/>
                  </a:solidFill>
                  <a:effectLst/>
                  <a:latin typeface="+mn-lt"/>
                  <a:ea typeface="+mn-ea"/>
                </a:rPr>
                <a:t>Hyperparameter </a:t>
              </a:r>
            </a:p>
            <a:p>
              <a:pPr marL="0" marR="0" indent="0" algn="ctr" defTabSz="914400" rtl="0" eaLnBrk="1" fontAlgn="base" latinLnBrk="0" hangingPunct="1">
                <a:lnSpc>
                  <a:spcPct val="100000"/>
                </a:lnSpc>
                <a:spcBef>
                  <a:spcPct val="0"/>
                </a:spcBef>
                <a:spcAft>
                  <a:spcPct val="0"/>
                </a:spcAft>
                <a:buClrTx/>
                <a:buSzTx/>
                <a:buFontTx/>
                <a:buNone/>
                <a:tabLst/>
              </a:pPr>
              <a:r>
                <a:rPr lang="en-US" sz="1400">
                  <a:solidFill>
                    <a:schemeClr val="bg1"/>
                  </a:solidFill>
                  <a:latin typeface="+mn-lt"/>
                  <a:ea typeface="+mn-ea"/>
                </a:rPr>
                <a:t>Tuning</a:t>
              </a:r>
              <a:endParaRPr kumimoji="1" lang="en-US" sz="1400" b="0" i="0" u="none" strike="noStrike" cap="none" normalizeH="0" baseline="0">
                <a:ln>
                  <a:noFill/>
                </a:ln>
                <a:solidFill>
                  <a:schemeClr val="bg1"/>
                </a:solidFill>
                <a:effectLst/>
                <a:latin typeface="+mn-lt"/>
                <a:ea typeface="+mn-ea"/>
              </a:endParaRPr>
            </a:p>
          </p:txBody>
        </p:sp>
        <p:cxnSp>
          <p:nvCxnSpPr>
            <p:cNvPr id="23" name="Straight Connector 22">
              <a:extLst>
                <a:ext uri="{FF2B5EF4-FFF2-40B4-BE49-F238E27FC236}">
                  <a16:creationId xmlns:a16="http://schemas.microsoft.com/office/drawing/2014/main" id="{DEF9C93E-2B2A-F033-4198-15602001A0ED}"/>
                </a:ext>
              </a:extLst>
            </p:cNvPr>
            <p:cNvCxnSpPr/>
            <p:nvPr/>
          </p:nvCxnSpPr>
          <p:spPr bwMode="auto">
            <a:xfrm flipH="1">
              <a:off x="5616561" y="2984830"/>
              <a:ext cx="4130943" cy="0"/>
            </a:xfrm>
            <a:prstGeom prst="line">
              <a:avLst/>
            </a:prstGeom>
            <a:solidFill>
              <a:srgbClr val="FF6600"/>
            </a:solidFill>
            <a:ln w="12700" cap="flat" cmpd="sng" algn="ctr">
              <a:solidFill>
                <a:schemeClr val="tx1">
                  <a:lumMod val="40000"/>
                  <a:lumOff val="6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TextBox 27">
              <a:extLst>
                <a:ext uri="{FF2B5EF4-FFF2-40B4-BE49-F238E27FC236}">
                  <a16:creationId xmlns:a16="http://schemas.microsoft.com/office/drawing/2014/main" id="{CA684122-BAE0-61E5-10B7-2DFD31B32597}"/>
                </a:ext>
              </a:extLst>
            </p:cNvPr>
            <p:cNvSpPr txBox="1"/>
            <p:nvPr/>
          </p:nvSpPr>
          <p:spPr>
            <a:xfrm>
              <a:off x="6317914" y="5034624"/>
              <a:ext cx="3272291" cy="1452124"/>
            </a:xfrm>
            <a:prstGeom prst="rect">
              <a:avLst/>
            </a:prstGeom>
            <a:noFill/>
          </p:spPr>
          <p:txBody>
            <a:bodyPr wrap="square" lIns="36000" tIns="36000" rIns="36000" bIns="0" rtlCol="0">
              <a:spAutoFit/>
            </a:bodyPr>
            <a:lstStyle/>
            <a:p>
              <a:pPr marL="171450" indent="-171450">
                <a:buFont typeface="Arial" panose="020B0604020202020204" pitchFamily="34" charset="0"/>
                <a:buChar char="•"/>
              </a:pPr>
              <a:r>
                <a:rPr kumimoji="1" lang="en-US" sz="1400" err="1">
                  <a:latin typeface="+mn-lt"/>
                  <a:ea typeface="+mn-ea"/>
                </a:rPr>
                <a:t>GridSearchCV</a:t>
              </a:r>
              <a:r>
                <a:rPr kumimoji="1" lang="en-US" sz="1400">
                  <a:latin typeface="+mn-lt"/>
                  <a:ea typeface="+mn-ea"/>
                </a:rPr>
                <a:t> </a:t>
              </a:r>
              <a:r>
                <a:rPr lang="en-US" sz="1400">
                  <a:latin typeface="+mn-lt"/>
                  <a:ea typeface="+mn-ea"/>
                </a:rPr>
                <a:t>for hyperparameter tuning</a:t>
              </a:r>
            </a:p>
            <a:p>
              <a:pPr marL="171450" indent="-171450">
                <a:buFont typeface="Arial" panose="020B0604020202020204" pitchFamily="34" charset="0"/>
                <a:buChar char="•"/>
              </a:pPr>
              <a:r>
                <a:rPr lang="en-US" sz="1400">
                  <a:latin typeface="+mn-lt"/>
                  <a:ea typeface="+mn-ea"/>
                </a:rPr>
                <a:t>Parameter: Alpha</a:t>
              </a:r>
            </a:p>
            <a:p>
              <a:endParaRPr lang="en-US" sz="1000" i="1">
                <a:latin typeface="+mn-lt"/>
                <a:ea typeface="+mn-ea"/>
              </a:endParaRPr>
            </a:p>
            <a:p>
              <a:r>
                <a:rPr lang="en-US" sz="1000" i="1">
                  <a:latin typeface="+mn-lt"/>
                  <a:ea typeface="+mn-ea"/>
                </a:rPr>
                <a:t>Note: Minor change when adjusting alpha; higher alpha values improve accuracy, while lower alpha values improve precision. Alpha 1 has an optimal balance across accuracy, precision, recall, and F1-score</a:t>
              </a:r>
            </a:p>
          </p:txBody>
        </p:sp>
        <p:sp>
          <p:nvSpPr>
            <p:cNvPr id="31" name="TextBox 30">
              <a:extLst>
                <a:ext uri="{FF2B5EF4-FFF2-40B4-BE49-F238E27FC236}">
                  <a16:creationId xmlns:a16="http://schemas.microsoft.com/office/drawing/2014/main" id="{70A76DD9-65F8-92BA-9239-9AC3B8CA778C}"/>
                </a:ext>
              </a:extLst>
            </p:cNvPr>
            <p:cNvSpPr txBox="1"/>
            <p:nvPr/>
          </p:nvSpPr>
          <p:spPr>
            <a:xfrm>
              <a:off x="6317914" y="3077586"/>
              <a:ext cx="3488002" cy="1575234"/>
            </a:xfrm>
            <a:prstGeom prst="rect">
              <a:avLst/>
            </a:prstGeom>
            <a:noFill/>
          </p:spPr>
          <p:txBody>
            <a:bodyPr wrap="square" lIns="36000" tIns="36000" rIns="36000" bIns="0" rtlCol="0">
              <a:spAutoFit/>
            </a:bodyPr>
            <a:lstStyle/>
            <a:p>
              <a:pPr marL="171450" indent="-171450">
                <a:buFont typeface="Arial" panose="020B0604020202020204" pitchFamily="34" charset="0"/>
                <a:buChar char="•"/>
              </a:pPr>
              <a:r>
                <a:rPr kumimoji="1" lang="en-US" sz="1400" dirty="0">
                  <a:latin typeface="+mn-lt"/>
                  <a:ea typeface="+mn-ea"/>
                </a:rPr>
                <a:t>Classification Report</a:t>
              </a:r>
            </a:p>
            <a:p>
              <a:pPr marL="628650" lvl="1" indent="-171450">
                <a:buFont typeface="Courier New" panose="02070309020205020404" pitchFamily="49" charset="0"/>
                <a:buChar char="o"/>
              </a:pPr>
              <a:r>
                <a:rPr lang="en-US" sz="1200" dirty="0">
                  <a:latin typeface="+mn-lt"/>
                  <a:ea typeface="+mn-ea"/>
                </a:rPr>
                <a:t>Accuracy: 0.71</a:t>
              </a:r>
            </a:p>
            <a:p>
              <a:pPr marL="628650" lvl="1" indent="-171450">
                <a:buFont typeface="Courier New" panose="02070309020205020404" pitchFamily="49" charset="0"/>
                <a:buChar char="o"/>
              </a:pPr>
              <a:r>
                <a:rPr lang="en-US" sz="1200" b="1" dirty="0">
                  <a:latin typeface="+mn-lt"/>
                  <a:ea typeface="+mn-ea"/>
                </a:rPr>
                <a:t>Precision</a:t>
              </a:r>
              <a:r>
                <a:rPr lang="en-US" sz="1200" dirty="0">
                  <a:latin typeface="+mn-lt"/>
                  <a:ea typeface="+mn-ea"/>
                </a:rPr>
                <a:t>: 0.64 (Negative), 0.63 (Neutral), 0.78 (Positive)</a:t>
              </a:r>
            </a:p>
            <a:p>
              <a:pPr marL="628650" lvl="1" indent="-171450">
                <a:buFont typeface="Courier New" panose="02070309020205020404" pitchFamily="49" charset="0"/>
                <a:buChar char="o"/>
              </a:pPr>
              <a:r>
                <a:rPr lang="en-US" sz="1200" dirty="0">
                  <a:latin typeface="+mn-lt"/>
                  <a:ea typeface="+mn-ea"/>
                </a:rPr>
                <a:t>Recall</a:t>
              </a:r>
            </a:p>
            <a:p>
              <a:pPr marL="628650" lvl="1" indent="-171450">
                <a:buFont typeface="Courier New" panose="02070309020205020404" pitchFamily="49" charset="0"/>
                <a:buChar char="o"/>
              </a:pPr>
              <a:r>
                <a:rPr lang="en-US" sz="1200" dirty="0">
                  <a:latin typeface="+mn-lt"/>
                  <a:ea typeface="+mn-ea"/>
                </a:rPr>
                <a:t>F1-score </a:t>
              </a:r>
            </a:p>
            <a:p>
              <a:pPr marL="171450" indent="-171450">
                <a:buFont typeface="Arial" panose="020B0604020202020204" pitchFamily="34" charset="0"/>
                <a:buChar char="•"/>
              </a:pPr>
              <a:r>
                <a:rPr kumimoji="1" lang="en-US" sz="1400" dirty="0">
                  <a:latin typeface="+mn-lt"/>
                  <a:ea typeface="+mn-ea"/>
                </a:rPr>
                <a:t>*ROC curve and AUC:</a:t>
              </a:r>
            </a:p>
            <a:p>
              <a:pPr marL="742950" lvl="1" indent="-285750">
                <a:buFont typeface="Courier New" panose="02070309020205020404" pitchFamily="49" charset="0"/>
                <a:buChar char="o"/>
              </a:pPr>
              <a:r>
                <a:rPr kumimoji="1" lang="en-US" sz="1200" dirty="0">
                  <a:latin typeface="+mn-lt"/>
                  <a:ea typeface="+mn-ea"/>
                </a:rPr>
                <a:t>0.88 (Negative, Positive), 0.76 (Neutral)</a:t>
              </a:r>
              <a:endParaRPr lang="en-US" sz="1200" dirty="0">
                <a:latin typeface="+mn-lt"/>
                <a:ea typeface="+mn-ea"/>
              </a:endParaRPr>
            </a:p>
          </p:txBody>
        </p:sp>
        <p:cxnSp>
          <p:nvCxnSpPr>
            <p:cNvPr id="41" name="Straight Connector 40">
              <a:extLst>
                <a:ext uri="{FF2B5EF4-FFF2-40B4-BE49-F238E27FC236}">
                  <a16:creationId xmlns:a16="http://schemas.microsoft.com/office/drawing/2014/main" id="{975D8A50-DB30-91C1-9DBC-60040604C9F6}"/>
                </a:ext>
              </a:extLst>
            </p:cNvPr>
            <p:cNvCxnSpPr/>
            <p:nvPr/>
          </p:nvCxnSpPr>
          <p:spPr bwMode="auto">
            <a:xfrm flipH="1">
              <a:off x="5616561" y="4914007"/>
              <a:ext cx="4130943" cy="0"/>
            </a:xfrm>
            <a:prstGeom prst="line">
              <a:avLst/>
            </a:prstGeom>
            <a:solidFill>
              <a:srgbClr val="FF6600"/>
            </a:solidFill>
            <a:ln w="12700" cap="flat" cmpd="sng" algn="ctr">
              <a:solidFill>
                <a:schemeClr val="tx1">
                  <a:lumMod val="40000"/>
                  <a:lumOff val="6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35" name="グループ化 3">
            <a:extLst>
              <a:ext uri="{FF2B5EF4-FFF2-40B4-BE49-F238E27FC236}">
                <a16:creationId xmlns:a16="http://schemas.microsoft.com/office/drawing/2014/main" id="{0CB73156-EE00-1C1B-600E-9D7D83A48624}"/>
              </a:ext>
            </a:extLst>
          </p:cNvPr>
          <p:cNvGrpSpPr/>
          <p:nvPr/>
        </p:nvGrpSpPr>
        <p:grpSpPr>
          <a:xfrm>
            <a:off x="198455" y="828247"/>
            <a:ext cx="5103121" cy="318924"/>
            <a:chOff x="1016089" y="1458276"/>
            <a:chExt cx="2016000" cy="324598"/>
          </a:xfrm>
        </p:grpSpPr>
        <p:sp>
          <p:nvSpPr>
            <p:cNvPr id="38" name="Rectangle 2">
              <a:extLst>
                <a:ext uri="{FF2B5EF4-FFF2-40B4-BE49-F238E27FC236}">
                  <a16:creationId xmlns:a16="http://schemas.microsoft.com/office/drawing/2014/main" id="{E0440CA4-067C-4475-46F4-23673071F63B}"/>
                </a:ext>
              </a:extLst>
            </p:cNvPr>
            <p:cNvSpPr>
              <a:spLocks noChangeArrowheads="1"/>
            </p:cNvSpPr>
            <p:nvPr/>
          </p:nvSpPr>
          <p:spPr bwMode="auto">
            <a:xfrm>
              <a:off x="1819754" y="1458276"/>
              <a:ext cx="408684" cy="324598"/>
            </a:xfrm>
            <a:prstGeom prst="rect">
              <a:avLst/>
            </a:prstGeom>
            <a:noFill/>
            <a:ln w="9525">
              <a:noFill/>
              <a:miter lim="800000"/>
              <a:headEnd/>
              <a:tailEnd/>
            </a:ln>
            <a:effectLst/>
          </p:spPr>
          <p:txBody>
            <a:bodyPr wrap="none" lIns="36000" tIns="36000" rIns="36000" bIns="36000" anchor="b"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1600" b="1" i="0" u="none" strike="noStrike" kern="1200" cap="none" spc="0" normalizeH="0" baseline="0" noProof="0">
                  <a:ln>
                    <a:noFill/>
                  </a:ln>
                  <a:solidFill>
                    <a:srgbClr val="4A4A4A"/>
                  </a:solidFill>
                  <a:effectLst/>
                  <a:uLnTx/>
                  <a:uFillTx/>
                  <a:latin typeface="+mj-lt"/>
                  <a:ea typeface="Meiryo UI"/>
                </a:rPr>
                <a:t>Data Flow</a:t>
              </a:r>
              <a:endParaRPr kumimoji="1" lang="ja-JP" altLang="en-US" sz="1600" b="1" i="0" u="none" strike="noStrike" kern="1200" cap="none" spc="0" normalizeH="0" baseline="0" noProof="0">
                <a:ln>
                  <a:noFill/>
                </a:ln>
                <a:solidFill>
                  <a:srgbClr val="4A4A4A"/>
                </a:solidFill>
                <a:effectLst/>
                <a:uLnTx/>
                <a:uFillTx/>
                <a:latin typeface="+mj-lt"/>
                <a:ea typeface="Meiryo UI"/>
              </a:endParaRPr>
            </a:p>
          </p:txBody>
        </p:sp>
        <p:cxnSp>
          <p:nvCxnSpPr>
            <p:cNvPr id="39" name="直線コネクタ 4">
              <a:extLst>
                <a:ext uri="{FF2B5EF4-FFF2-40B4-BE49-F238E27FC236}">
                  <a16:creationId xmlns:a16="http://schemas.microsoft.com/office/drawing/2014/main" id="{ED25A039-1E4F-C486-6A7C-2B54994187A9}"/>
                </a:ext>
              </a:extLst>
            </p:cNvPr>
            <p:cNvCxnSpPr/>
            <p:nvPr/>
          </p:nvCxnSpPr>
          <p:spPr bwMode="auto">
            <a:xfrm>
              <a:off x="1016089" y="1782873"/>
              <a:ext cx="2016000" cy="0"/>
            </a:xfrm>
            <a:prstGeom prst="line">
              <a:avLst/>
            </a:prstGeom>
            <a:solidFill>
              <a:srgbClr val="FF6600"/>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 name="Rectangle 3">
            <a:extLst>
              <a:ext uri="{FF2B5EF4-FFF2-40B4-BE49-F238E27FC236}">
                <a16:creationId xmlns:a16="http://schemas.microsoft.com/office/drawing/2014/main" id="{8874E7FC-C1F6-4ECE-D06E-A4BDA7110C39}"/>
              </a:ext>
            </a:extLst>
          </p:cNvPr>
          <p:cNvSpPr txBox="1">
            <a:spLocks noChangeArrowheads="1"/>
          </p:cNvSpPr>
          <p:nvPr/>
        </p:nvSpPr>
        <p:spPr bwMode="auto">
          <a:xfrm>
            <a:off x="48429" y="6614105"/>
            <a:ext cx="4368701" cy="24389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72000" rIns="72000" bIns="72000" numCol="1" anchor="b" anchorCtr="0" compatLnSpc="1">
            <a:prstTxWarp prst="textNoShape">
              <a:avLst/>
            </a:prstTxWarp>
            <a:spAutoFit/>
          </a:bodyPr>
          <a:lstStyle>
            <a:lvl1pPr algn="l" rtl="0" eaLnBrk="1" fontAlgn="base" hangingPunct="1">
              <a:spcBef>
                <a:spcPts val="600"/>
              </a:spcBef>
              <a:spcAft>
                <a:spcPct val="0"/>
              </a:spcAft>
              <a:defRPr kumimoji="1" sz="1600">
                <a:solidFill>
                  <a:schemeClr val="tx1"/>
                </a:solidFill>
                <a:latin typeface="+mn-lt"/>
                <a:ea typeface="+mn-ea"/>
                <a:cs typeface="メイリオ" pitchFamily="50" charset="-128"/>
              </a:defRPr>
            </a:lvl1pPr>
            <a:lvl2pPr marL="450850" indent="-196850" algn="l" rtl="0" eaLnBrk="1" fontAlgn="base" hangingPunct="1">
              <a:spcBef>
                <a:spcPts val="600"/>
              </a:spcBef>
              <a:spcAft>
                <a:spcPct val="0"/>
              </a:spcAft>
              <a:buSzPct val="90000"/>
              <a:buFont typeface="Arial" panose="020B0604020202020204" pitchFamily="34" charset="0"/>
              <a:buChar char="●"/>
              <a:defRPr kumimoji="1" sz="1600">
                <a:solidFill>
                  <a:schemeClr val="tx1"/>
                </a:solidFill>
                <a:latin typeface="+mn-lt"/>
                <a:ea typeface="+mn-ea"/>
                <a:cs typeface="メイリオ" pitchFamily="50" charset="-128"/>
              </a:defRPr>
            </a:lvl2pPr>
            <a:lvl3pPr marL="846138" indent="-179388" algn="l" rtl="0" eaLnBrk="1" fontAlgn="base" hangingPunct="1">
              <a:spcBef>
                <a:spcPts val="600"/>
              </a:spcBef>
              <a:spcAft>
                <a:spcPct val="0"/>
              </a:spcAft>
              <a:buSzPct val="90000"/>
              <a:buChar char="–"/>
              <a:defRPr kumimoji="1" sz="1600">
                <a:solidFill>
                  <a:schemeClr val="tx1"/>
                </a:solidFill>
                <a:latin typeface="+mn-lt"/>
                <a:ea typeface="+mn-ea"/>
                <a:cs typeface="メイリオ" pitchFamily="50" charset="-128"/>
              </a:defRPr>
            </a:lvl3pPr>
            <a:lvl4pPr marL="1228725" indent="-158750" algn="l" rtl="0" eaLnBrk="1" fontAlgn="base" hangingPunct="1">
              <a:spcBef>
                <a:spcPts val="600"/>
              </a:spcBef>
              <a:spcAft>
                <a:spcPct val="0"/>
              </a:spcAft>
              <a:buSzPct val="70000"/>
              <a:buFont typeface="Arial" panose="020B0604020202020204" pitchFamily="34" charset="0"/>
              <a:buChar char="○"/>
              <a:defRPr kumimoji="1" sz="1600">
                <a:solidFill>
                  <a:schemeClr val="tx1"/>
                </a:solidFill>
                <a:latin typeface="+mn-lt"/>
                <a:ea typeface="+mn-ea"/>
                <a:cs typeface="メイリオ" pitchFamily="50" charset="-128"/>
              </a:defRPr>
            </a:lvl4pPr>
            <a:lvl5pPr marL="1617663" indent="-176213" algn="l" rtl="0" eaLnBrk="1" fontAlgn="base" hangingPunct="1">
              <a:spcBef>
                <a:spcPts val="600"/>
              </a:spcBef>
              <a:spcAft>
                <a:spcPct val="0"/>
              </a:spcAft>
              <a:buSzPct val="70000"/>
              <a:buChar char="–"/>
              <a:defRPr kumimoji="1" sz="1600">
                <a:solidFill>
                  <a:schemeClr val="tx1"/>
                </a:solidFill>
                <a:latin typeface="+mn-lt"/>
                <a:ea typeface="+mn-ea"/>
                <a:cs typeface="メイリオ" pitchFamily="50" charset="-128"/>
              </a:defRPr>
            </a:lvl5pPr>
            <a:lvl6pPr marL="2038350" indent="0" algn="l" rtl="0" eaLnBrk="1" fontAlgn="base" hangingPunct="1">
              <a:spcBef>
                <a:spcPct val="30000"/>
              </a:spcBef>
              <a:spcAft>
                <a:spcPct val="0"/>
              </a:spcAft>
              <a:buSzPct val="70000"/>
              <a:buNone/>
              <a:defRPr kumimoji="1">
                <a:solidFill>
                  <a:schemeClr val="tx1"/>
                </a:solidFill>
                <a:latin typeface="+mn-lt"/>
                <a:ea typeface="+mn-ea"/>
              </a:defRPr>
            </a:lvl6pPr>
            <a:lvl7pPr marL="2724150" indent="-228600" algn="l" rtl="0" eaLnBrk="1" fontAlgn="base" hangingPunct="1">
              <a:spcBef>
                <a:spcPct val="30000"/>
              </a:spcBef>
              <a:spcAft>
                <a:spcPct val="0"/>
              </a:spcAft>
              <a:buSzPct val="70000"/>
              <a:buChar char="–"/>
              <a:defRPr kumimoji="1">
                <a:solidFill>
                  <a:schemeClr val="tx1"/>
                </a:solidFill>
                <a:latin typeface="+mn-lt"/>
                <a:ea typeface="+mn-ea"/>
              </a:defRPr>
            </a:lvl7pPr>
            <a:lvl8pPr marL="3181350" indent="-228600" algn="l" rtl="0" eaLnBrk="1" fontAlgn="base" hangingPunct="1">
              <a:spcBef>
                <a:spcPct val="30000"/>
              </a:spcBef>
              <a:spcAft>
                <a:spcPct val="0"/>
              </a:spcAft>
              <a:buSzPct val="70000"/>
              <a:buChar char="–"/>
              <a:defRPr kumimoji="1">
                <a:solidFill>
                  <a:schemeClr val="tx1"/>
                </a:solidFill>
                <a:latin typeface="+mn-lt"/>
                <a:ea typeface="+mn-ea"/>
              </a:defRPr>
            </a:lvl8pPr>
            <a:lvl9pPr marL="3638550" indent="-228600" algn="l" rtl="0" eaLnBrk="1" fontAlgn="base" hangingPunct="1">
              <a:spcBef>
                <a:spcPct val="30000"/>
              </a:spcBef>
              <a:spcAft>
                <a:spcPct val="0"/>
              </a:spcAft>
              <a:buSzPct val="70000"/>
              <a:buChar char="–"/>
              <a:defRPr kumimoji="1">
                <a:solidFill>
                  <a:schemeClr val="tx1"/>
                </a:solidFill>
                <a:latin typeface="+mn-lt"/>
                <a:ea typeface="+mn-ea"/>
              </a:defRPr>
            </a:lvl9pPr>
          </a:lstStyle>
          <a:p>
            <a:pPr defTabSz="538163">
              <a:lnSpc>
                <a:spcPct val="80000"/>
              </a:lnSpc>
              <a:spcBef>
                <a:spcPts val="0"/>
              </a:spcBef>
            </a:pPr>
            <a:r>
              <a:rPr lang="en-US" sz="800" baseline="30000">
                <a:latin typeface="+mn-lt"/>
                <a:ea typeface="+mn-ea"/>
              </a:rPr>
              <a:t>*</a:t>
            </a:r>
            <a:r>
              <a:rPr lang="en-US" sz="800" baseline="30000">
                <a:latin typeface="+mn-lt"/>
                <a:ea typeface="+mn-ea"/>
                <a:cs typeface="Arial" panose="020B0604020202020204" pitchFamily="34" charset="0"/>
              </a:rPr>
              <a:t> </a:t>
            </a:r>
            <a:r>
              <a:rPr lang="en-US" altLang="ja-JP" sz="800">
                <a:cs typeface="Arial" panose="020B0604020202020204" pitchFamily="34" charset="0"/>
              </a:rPr>
              <a:t>ROC (</a:t>
            </a:r>
            <a:r>
              <a:rPr kumimoji="1" lang="en-US" sz="800">
                <a:latin typeface="+mn-lt"/>
                <a:ea typeface="+mn-ea"/>
              </a:rPr>
              <a:t>Receiver Operating Characteristic) and AUC (Area Under the ROC Curve)</a:t>
            </a:r>
            <a:endParaRPr lang="en-US" altLang="ja-JP" sz="800">
              <a:cs typeface="Arial" panose="020B0604020202020204" pitchFamily="34" charset="0"/>
            </a:endParaRPr>
          </a:p>
        </p:txBody>
      </p:sp>
    </p:spTree>
    <p:extLst>
      <p:ext uri="{BB962C8B-B14F-4D97-AF65-F5344CB8AC3E}">
        <p14:creationId xmlns:p14="http://schemas.microsoft.com/office/powerpoint/2010/main" val="28310656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D9482C-9809-78C2-DBBB-630F5596988E}"/>
              </a:ext>
            </a:extLst>
          </p:cNvPr>
          <p:cNvSpPr>
            <a:spLocks noGrp="1"/>
          </p:cNvSpPr>
          <p:nvPr>
            <p:ph type="title"/>
          </p:nvPr>
        </p:nvSpPr>
        <p:spPr/>
        <p:txBody>
          <a:bodyPr/>
          <a:lstStyle/>
          <a:p>
            <a:r>
              <a:rPr lang="en-US"/>
              <a:t>Project Board Walkthrough</a:t>
            </a:r>
          </a:p>
        </p:txBody>
      </p:sp>
      <p:sp>
        <p:nvSpPr>
          <p:cNvPr id="3" name="Rectangle 2">
            <a:extLst>
              <a:ext uri="{FF2B5EF4-FFF2-40B4-BE49-F238E27FC236}">
                <a16:creationId xmlns:a16="http://schemas.microsoft.com/office/drawing/2014/main" id="{B86EE26B-A320-1117-C533-672582AFE7DA}"/>
              </a:ext>
            </a:extLst>
          </p:cNvPr>
          <p:cNvSpPr>
            <a:spLocks noChangeArrowheads="1"/>
          </p:cNvSpPr>
          <p:nvPr/>
        </p:nvSpPr>
        <p:spPr bwMode="auto">
          <a:xfrm>
            <a:off x="457200" y="779355"/>
            <a:ext cx="9239794" cy="31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6000" rIns="0" bIns="0" anchor="t"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a:spcBef>
                <a:spcPts val="0"/>
              </a:spcBef>
            </a:pPr>
            <a:r>
              <a:rPr lang="en-US" altLang="ja-JP" sz="1800">
                <a:solidFill>
                  <a:srgbClr val="212121"/>
                </a:solidFill>
                <a:latin typeface="Segoe UI" panose="020B0502040204020203" pitchFamily="34" charset="0"/>
                <a:ea typeface="+mn-ea"/>
                <a:cs typeface="Segoe UI" panose="020B0502040204020203" pitchFamily="34" charset="0"/>
              </a:rPr>
              <a:t>Using </a:t>
            </a:r>
            <a:r>
              <a:rPr lang="en-US" altLang="ja-JP" sz="1800" err="1">
                <a:solidFill>
                  <a:srgbClr val="212121"/>
                </a:solidFill>
                <a:latin typeface="Segoe UI" panose="020B0502040204020203" pitchFamily="34" charset="0"/>
                <a:ea typeface="+mn-ea"/>
                <a:cs typeface="Segoe UI" panose="020B0502040204020203" pitchFamily="34" charset="0"/>
              </a:rPr>
              <a:t>Github’s</a:t>
            </a:r>
            <a:r>
              <a:rPr lang="en-US" altLang="ja-JP" sz="1800">
                <a:solidFill>
                  <a:srgbClr val="212121"/>
                </a:solidFill>
                <a:latin typeface="Segoe UI" panose="020B0502040204020203" pitchFamily="34" charset="0"/>
                <a:ea typeface="+mn-ea"/>
                <a:cs typeface="Segoe UI" panose="020B0502040204020203" pitchFamily="34" charset="0"/>
              </a:rPr>
              <a:t> Project to create Kanban Board for model development</a:t>
            </a:r>
            <a:endParaRPr lang="ja-JP" altLang="en-US" sz="1800">
              <a:solidFill>
                <a:srgbClr val="212121"/>
              </a:solidFill>
              <a:latin typeface="Segoe UI" panose="020B0502040204020203" pitchFamily="34" charset="0"/>
              <a:ea typeface="+mn-ea"/>
              <a:cs typeface="Segoe UI" panose="020B0502040204020203" pitchFamily="34" charset="0"/>
            </a:endParaRPr>
          </a:p>
        </p:txBody>
      </p:sp>
      <p:pic>
        <p:nvPicPr>
          <p:cNvPr id="6" name="Picture 5">
            <a:extLst>
              <a:ext uri="{FF2B5EF4-FFF2-40B4-BE49-F238E27FC236}">
                <a16:creationId xmlns:a16="http://schemas.microsoft.com/office/drawing/2014/main" id="{FAAC4516-0E79-E2FE-BFDF-E98A9B684838}"/>
              </a:ext>
            </a:extLst>
          </p:cNvPr>
          <p:cNvPicPr>
            <a:picLocks noChangeAspect="1"/>
          </p:cNvPicPr>
          <p:nvPr/>
        </p:nvPicPr>
        <p:blipFill>
          <a:blip r:embed="rId2"/>
          <a:stretch>
            <a:fillRect/>
          </a:stretch>
        </p:blipFill>
        <p:spPr>
          <a:xfrm>
            <a:off x="343595" y="1323380"/>
            <a:ext cx="9239794" cy="4825225"/>
          </a:xfrm>
          <a:prstGeom prst="rect">
            <a:avLst/>
          </a:prstGeom>
          <a:ln w="3175">
            <a:solidFill>
              <a:schemeClr val="tx1"/>
            </a:solidFill>
          </a:ln>
        </p:spPr>
      </p:pic>
      <p:sp>
        <p:nvSpPr>
          <p:cNvPr id="7" name="Rectangle 3">
            <a:extLst>
              <a:ext uri="{FF2B5EF4-FFF2-40B4-BE49-F238E27FC236}">
                <a16:creationId xmlns:a16="http://schemas.microsoft.com/office/drawing/2014/main" id="{868E8753-BB09-C997-CCF4-A106332D558A}"/>
              </a:ext>
            </a:extLst>
          </p:cNvPr>
          <p:cNvSpPr txBox="1">
            <a:spLocks noChangeArrowheads="1"/>
          </p:cNvSpPr>
          <p:nvPr/>
        </p:nvSpPr>
        <p:spPr bwMode="auto">
          <a:xfrm>
            <a:off x="166905" y="6506726"/>
            <a:ext cx="5844933" cy="24389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72000" rIns="72000" bIns="72000" numCol="1" anchor="b" anchorCtr="0" compatLnSpc="1">
            <a:prstTxWarp prst="textNoShape">
              <a:avLst/>
            </a:prstTxWarp>
            <a:spAutoFit/>
          </a:bodyPr>
          <a:lstStyle>
            <a:lvl1pPr algn="l" rtl="0" eaLnBrk="1" fontAlgn="base" hangingPunct="1">
              <a:spcBef>
                <a:spcPts val="600"/>
              </a:spcBef>
              <a:spcAft>
                <a:spcPct val="0"/>
              </a:spcAft>
              <a:defRPr kumimoji="1" sz="1600">
                <a:solidFill>
                  <a:schemeClr val="tx1"/>
                </a:solidFill>
                <a:latin typeface="+mn-lt"/>
                <a:ea typeface="+mn-ea"/>
                <a:cs typeface="メイリオ" pitchFamily="50" charset="-128"/>
              </a:defRPr>
            </a:lvl1pPr>
            <a:lvl2pPr marL="450850" indent="-196850" algn="l" rtl="0" eaLnBrk="1" fontAlgn="base" hangingPunct="1">
              <a:spcBef>
                <a:spcPts val="600"/>
              </a:spcBef>
              <a:spcAft>
                <a:spcPct val="0"/>
              </a:spcAft>
              <a:buSzPct val="90000"/>
              <a:buFont typeface="Arial" panose="020B0604020202020204" pitchFamily="34" charset="0"/>
              <a:buChar char="●"/>
              <a:defRPr kumimoji="1" sz="1600">
                <a:solidFill>
                  <a:schemeClr val="tx1"/>
                </a:solidFill>
                <a:latin typeface="+mn-lt"/>
                <a:ea typeface="+mn-ea"/>
                <a:cs typeface="メイリオ" pitchFamily="50" charset="-128"/>
              </a:defRPr>
            </a:lvl2pPr>
            <a:lvl3pPr marL="846138" indent="-179388" algn="l" rtl="0" eaLnBrk="1" fontAlgn="base" hangingPunct="1">
              <a:spcBef>
                <a:spcPts val="600"/>
              </a:spcBef>
              <a:spcAft>
                <a:spcPct val="0"/>
              </a:spcAft>
              <a:buSzPct val="90000"/>
              <a:buChar char="–"/>
              <a:defRPr kumimoji="1" sz="1600">
                <a:solidFill>
                  <a:schemeClr val="tx1"/>
                </a:solidFill>
                <a:latin typeface="+mn-lt"/>
                <a:ea typeface="+mn-ea"/>
                <a:cs typeface="メイリオ" pitchFamily="50" charset="-128"/>
              </a:defRPr>
            </a:lvl3pPr>
            <a:lvl4pPr marL="1228725" indent="-158750" algn="l" rtl="0" eaLnBrk="1" fontAlgn="base" hangingPunct="1">
              <a:spcBef>
                <a:spcPts val="600"/>
              </a:spcBef>
              <a:spcAft>
                <a:spcPct val="0"/>
              </a:spcAft>
              <a:buSzPct val="70000"/>
              <a:buFont typeface="Arial" panose="020B0604020202020204" pitchFamily="34" charset="0"/>
              <a:buChar char="○"/>
              <a:defRPr kumimoji="1" sz="1600">
                <a:solidFill>
                  <a:schemeClr val="tx1"/>
                </a:solidFill>
                <a:latin typeface="+mn-lt"/>
                <a:ea typeface="+mn-ea"/>
                <a:cs typeface="メイリオ" pitchFamily="50" charset="-128"/>
              </a:defRPr>
            </a:lvl4pPr>
            <a:lvl5pPr marL="1617663" indent="-176213" algn="l" rtl="0" eaLnBrk="1" fontAlgn="base" hangingPunct="1">
              <a:spcBef>
                <a:spcPts val="600"/>
              </a:spcBef>
              <a:spcAft>
                <a:spcPct val="0"/>
              </a:spcAft>
              <a:buSzPct val="70000"/>
              <a:buChar char="–"/>
              <a:defRPr kumimoji="1" sz="1600">
                <a:solidFill>
                  <a:schemeClr val="tx1"/>
                </a:solidFill>
                <a:latin typeface="+mn-lt"/>
                <a:ea typeface="+mn-ea"/>
                <a:cs typeface="メイリオ" pitchFamily="50" charset="-128"/>
              </a:defRPr>
            </a:lvl5pPr>
            <a:lvl6pPr marL="2038350" indent="0" algn="l" rtl="0" eaLnBrk="1" fontAlgn="base" hangingPunct="1">
              <a:spcBef>
                <a:spcPct val="30000"/>
              </a:spcBef>
              <a:spcAft>
                <a:spcPct val="0"/>
              </a:spcAft>
              <a:buSzPct val="70000"/>
              <a:buNone/>
              <a:defRPr kumimoji="1">
                <a:solidFill>
                  <a:schemeClr val="tx1"/>
                </a:solidFill>
                <a:latin typeface="+mn-lt"/>
                <a:ea typeface="+mn-ea"/>
              </a:defRPr>
            </a:lvl6pPr>
            <a:lvl7pPr marL="2724150" indent="-228600" algn="l" rtl="0" eaLnBrk="1" fontAlgn="base" hangingPunct="1">
              <a:spcBef>
                <a:spcPct val="30000"/>
              </a:spcBef>
              <a:spcAft>
                <a:spcPct val="0"/>
              </a:spcAft>
              <a:buSzPct val="70000"/>
              <a:buChar char="–"/>
              <a:defRPr kumimoji="1">
                <a:solidFill>
                  <a:schemeClr val="tx1"/>
                </a:solidFill>
                <a:latin typeface="+mn-lt"/>
                <a:ea typeface="+mn-ea"/>
              </a:defRPr>
            </a:lvl7pPr>
            <a:lvl8pPr marL="3181350" indent="-228600" algn="l" rtl="0" eaLnBrk="1" fontAlgn="base" hangingPunct="1">
              <a:spcBef>
                <a:spcPct val="30000"/>
              </a:spcBef>
              <a:spcAft>
                <a:spcPct val="0"/>
              </a:spcAft>
              <a:buSzPct val="70000"/>
              <a:buChar char="–"/>
              <a:defRPr kumimoji="1">
                <a:solidFill>
                  <a:schemeClr val="tx1"/>
                </a:solidFill>
                <a:latin typeface="+mn-lt"/>
                <a:ea typeface="+mn-ea"/>
              </a:defRPr>
            </a:lvl8pPr>
            <a:lvl9pPr marL="3638550" indent="-228600" algn="l" rtl="0" eaLnBrk="1" fontAlgn="base" hangingPunct="1">
              <a:spcBef>
                <a:spcPct val="30000"/>
              </a:spcBef>
              <a:spcAft>
                <a:spcPct val="0"/>
              </a:spcAft>
              <a:buSzPct val="70000"/>
              <a:buChar char="–"/>
              <a:defRPr kumimoji="1">
                <a:solidFill>
                  <a:schemeClr val="tx1"/>
                </a:solidFill>
                <a:latin typeface="+mn-lt"/>
                <a:ea typeface="+mn-ea"/>
              </a:defRPr>
            </a:lvl9pPr>
          </a:lstStyle>
          <a:p>
            <a:pPr defTabSz="538163">
              <a:lnSpc>
                <a:spcPct val="80000"/>
              </a:lnSpc>
              <a:spcBef>
                <a:spcPts val="0"/>
              </a:spcBef>
            </a:pPr>
            <a:r>
              <a:rPr lang="en-US" altLang="ja-JP" sz="800">
                <a:cs typeface="Arial" panose="020B0604020202020204" pitchFamily="34" charset="0"/>
              </a:rPr>
              <a:t>* Project Board for Movie Sentiment Analysis: </a:t>
            </a:r>
            <a:r>
              <a:rPr lang="en-US" altLang="ja-JP" sz="800">
                <a:solidFill>
                  <a:schemeClr val="tx2">
                    <a:lumMod val="75000"/>
                  </a:schemeClr>
                </a:solidFill>
                <a:cs typeface="Arial" panose="020B0604020202020204" pitchFamily="34" charset="0"/>
                <a:hlinkClick r:id="rId3">
                  <a:extLst>
                    <a:ext uri="{A12FA001-AC4F-418D-AE19-62706E023703}">
                      <ahyp:hlinkClr xmlns:ahyp="http://schemas.microsoft.com/office/drawing/2018/hyperlinkcolor" val="tx"/>
                    </a:ext>
                  </a:extLst>
                </a:hlinkClick>
              </a:rPr>
              <a:t>https://github.com/users/abccastro/projects/1</a:t>
            </a:r>
            <a:endParaRPr lang="en-US" altLang="ja-JP" sz="800">
              <a:solidFill>
                <a:schemeClr val="tx2">
                  <a:lumMod val="75000"/>
                </a:schemeClr>
              </a:solidFill>
              <a:cs typeface="Arial" panose="020B0604020202020204" pitchFamily="34" charset="0"/>
            </a:endParaRPr>
          </a:p>
        </p:txBody>
      </p:sp>
    </p:spTree>
    <p:extLst>
      <p:ext uri="{BB962C8B-B14F-4D97-AF65-F5344CB8AC3E}">
        <p14:creationId xmlns:p14="http://schemas.microsoft.com/office/powerpoint/2010/main" val="22907789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80B3B-C3C4-B122-8CFA-F53F8A230686}"/>
              </a:ext>
            </a:extLst>
          </p:cNvPr>
          <p:cNvSpPr>
            <a:spLocks noGrp="1"/>
          </p:cNvSpPr>
          <p:nvPr>
            <p:ph type="title"/>
          </p:nvPr>
        </p:nvSpPr>
        <p:spPr/>
        <p:txBody>
          <a:bodyPr/>
          <a:lstStyle/>
          <a:p>
            <a:r>
              <a:rPr lang="en-US"/>
              <a:t>Team’s Best Practices</a:t>
            </a:r>
          </a:p>
        </p:txBody>
      </p:sp>
      <p:sp>
        <p:nvSpPr>
          <p:cNvPr id="3" name="TextBox 2">
            <a:extLst>
              <a:ext uri="{FF2B5EF4-FFF2-40B4-BE49-F238E27FC236}">
                <a16:creationId xmlns:a16="http://schemas.microsoft.com/office/drawing/2014/main" id="{2DF7BD28-8E73-237A-B6D5-2E7E654F7365}"/>
              </a:ext>
            </a:extLst>
          </p:cNvPr>
          <p:cNvSpPr txBox="1"/>
          <p:nvPr/>
        </p:nvSpPr>
        <p:spPr>
          <a:xfrm>
            <a:off x="545910" y="978965"/>
            <a:ext cx="8727744" cy="3847267"/>
          </a:xfrm>
          <a:prstGeom prst="rect">
            <a:avLst/>
          </a:prstGeom>
          <a:noFill/>
        </p:spPr>
        <p:txBody>
          <a:bodyPr wrap="square" lIns="36000" tIns="36000" rIns="36000" bIns="0" rtlCol="0" anchor="t">
            <a:spAutoFit/>
          </a:bodyPr>
          <a:lstStyle/>
          <a:p>
            <a:pPr marL="285750" indent="-285750">
              <a:lnSpc>
                <a:spcPct val="200000"/>
              </a:lnSpc>
              <a:buFont typeface="Arial" panose="020B0604020202020204" pitchFamily="34" charset="0"/>
              <a:buChar char="•"/>
            </a:pPr>
            <a:r>
              <a:rPr lang="en-US" sz="1400" b="1">
                <a:solidFill>
                  <a:srgbClr val="374151"/>
                </a:solidFill>
                <a:latin typeface="+mn-lt"/>
                <a:ea typeface="ＭＳ Ｐゴシック"/>
              </a:rPr>
              <a:t>Feature Breakdown: </a:t>
            </a:r>
            <a:r>
              <a:rPr lang="en-US" sz="1400">
                <a:solidFill>
                  <a:srgbClr val="374151"/>
                </a:solidFill>
                <a:latin typeface="+mn-lt"/>
                <a:ea typeface="ＭＳ Ｐゴシック"/>
              </a:rPr>
              <a:t>Dividing features into smaller tasks for better prioritization and more manageable components</a:t>
            </a:r>
          </a:p>
          <a:p>
            <a:pPr marL="285750" indent="-285750">
              <a:lnSpc>
                <a:spcPct val="200000"/>
              </a:lnSpc>
              <a:buFont typeface="Arial" panose="020B0604020202020204" pitchFamily="34" charset="0"/>
              <a:buChar char="•"/>
            </a:pPr>
            <a:r>
              <a:rPr lang="en-US" sz="1400" b="1">
                <a:solidFill>
                  <a:srgbClr val="374151"/>
                </a:solidFill>
                <a:latin typeface="+mn-lt"/>
                <a:ea typeface="ＭＳ Ｐゴシック"/>
              </a:rPr>
              <a:t>Distributed Responsibilities: </a:t>
            </a:r>
            <a:r>
              <a:rPr lang="en-US" sz="1400">
                <a:solidFill>
                  <a:srgbClr val="374151"/>
                </a:solidFill>
                <a:latin typeface="+mn-lt"/>
                <a:ea typeface="ＭＳ Ｐゴシック"/>
              </a:rPr>
              <a:t>Assigning tasks to individual team members to ensure clear responsibility and accountability</a:t>
            </a:r>
          </a:p>
          <a:p>
            <a:pPr marL="285750" indent="-285750">
              <a:lnSpc>
                <a:spcPct val="200000"/>
              </a:lnSpc>
              <a:buFont typeface="Arial" panose="020B0604020202020204" pitchFamily="34" charset="0"/>
              <a:buChar char="•"/>
            </a:pPr>
            <a:r>
              <a:rPr lang="en-US" sz="1400" b="1">
                <a:solidFill>
                  <a:srgbClr val="374151"/>
                </a:solidFill>
                <a:latin typeface="+mn-lt"/>
                <a:ea typeface="ＭＳ Ｐゴシック"/>
              </a:rPr>
              <a:t>Project Progress Checkpoint:</a:t>
            </a:r>
            <a:r>
              <a:rPr lang="en-US" sz="1400">
                <a:solidFill>
                  <a:srgbClr val="374151"/>
                </a:solidFill>
                <a:latin typeface="+mn-lt"/>
                <a:ea typeface="ＭＳ Ｐゴシック"/>
              </a:rPr>
              <a:t> Conducting regular team meetings, via MS Teams or in person, for updates, blockers and planning next task</a:t>
            </a:r>
          </a:p>
          <a:p>
            <a:pPr marL="285750" indent="-285750">
              <a:lnSpc>
                <a:spcPct val="200000"/>
              </a:lnSpc>
              <a:buFont typeface="Arial" panose="020B0604020202020204" pitchFamily="34" charset="0"/>
              <a:buChar char="•"/>
            </a:pPr>
            <a:r>
              <a:rPr lang="en-US" sz="1400" b="1">
                <a:solidFill>
                  <a:srgbClr val="374151"/>
                </a:solidFill>
                <a:latin typeface="+mn-lt"/>
                <a:ea typeface="ＭＳ Ｐゴシック"/>
              </a:rPr>
              <a:t>Model Development Workflow: </a:t>
            </a:r>
            <a:r>
              <a:rPr lang="en-US" sz="1400">
                <a:solidFill>
                  <a:srgbClr val="374151"/>
                </a:solidFill>
                <a:latin typeface="+mn-lt"/>
                <a:ea typeface="ＭＳ Ｐゴシック"/>
              </a:rPr>
              <a:t>Leveraging </a:t>
            </a:r>
            <a:r>
              <a:rPr lang="en-US" sz="1400" baseline="30000">
                <a:latin typeface="+mn-lt"/>
                <a:ea typeface="+mn-ea"/>
              </a:rPr>
              <a:t>* </a:t>
            </a:r>
            <a:r>
              <a:rPr lang="en-US" sz="1400">
                <a:solidFill>
                  <a:srgbClr val="374151"/>
                </a:solidFill>
                <a:latin typeface="+mn-lt"/>
                <a:ea typeface="ＭＳ Ｐゴシック"/>
              </a:rPr>
              <a:t>GitHub as a model development repository, adhering to industry standards with distinct branches for production, testing, development, and tasks, and conducting code reviews before merging</a:t>
            </a:r>
          </a:p>
        </p:txBody>
      </p:sp>
      <p:sp>
        <p:nvSpPr>
          <p:cNvPr id="4" name="Rectangle 3">
            <a:extLst>
              <a:ext uri="{FF2B5EF4-FFF2-40B4-BE49-F238E27FC236}">
                <a16:creationId xmlns:a16="http://schemas.microsoft.com/office/drawing/2014/main" id="{C2C578D0-14FC-1910-45D7-109FB2321A26}"/>
              </a:ext>
            </a:extLst>
          </p:cNvPr>
          <p:cNvSpPr txBox="1">
            <a:spLocks noChangeArrowheads="1"/>
          </p:cNvSpPr>
          <p:nvPr/>
        </p:nvSpPr>
        <p:spPr bwMode="auto">
          <a:xfrm>
            <a:off x="166905" y="6506726"/>
            <a:ext cx="5844933" cy="24389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72000" rIns="72000" bIns="72000" numCol="1" anchor="b" anchorCtr="0" compatLnSpc="1">
            <a:prstTxWarp prst="textNoShape">
              <a:avLst/>
            </a:prstTxWarp>
            <a:spAutoFit/>
          </a:bodyPr>
          <a:lstStyle>
            <a:lvl1pPr algn="l" rtl="0" eaLnBrk="1" fontAlgn="base" hangingPunct="1">
              <a:spcBef>
                <a:spcPts val="600"/>
              </a:spcBef>
              <a:spcAft>
                <a:spcPct val="0"/>
              </a:spcAft>
              <a:defRPr kumimoji="1" sz="1600">
                <a:solidFill>
                  <a:schemeClr val="tx1"/>
                </a:solidFill>
                <a:latin typeface="+mn-lt"/>
                <a:ea typeface="+mn-ea"/>
                <a:cs typeface="メイリオ" pitchFamily="50" charset="-128"/>
              </a:defRPr>
            </a:lvl1pPr>
            <a:lvl2pPr marL="450850" indent="-196850" algn="l" rtl="0" eaLnBrk="1" fontAlgn="base" hangingPunct="1">
              <a:spcBef>
                <a:spcPts val="600"/>
              </a:spcBef>
              <a:spcAft>
                <a:spcPct val="0"/>
              </a:spcAft>
              <a:buSzPct val="90000"/>
              <a:buFont typeface="Arial" panose="020B0604020202020204" pitchFamily="34" charset="0"/>
              <a:buChar char="●"/>
              <a:defRPr kumimoji="1" sz="1600">
                <a:solidFill>
                  <a:schemeClr val="tx1"/>
                </a:solidFill>
                <a:latin typeface="+mn-lt"/>
                <a:ea typeface="+mn-ea"/>
                <a:cs typeface="メイリオ" pitchFamily="50" charset="-128"/>
              </a:defRPr>
            </a:lvl2pPr>
            <a:lvl3pPr marL="846138" indent="-179388" algn="l" rtl="0" eaLnBrk="1" fontAlgn="base" hangingPunct="1">
              <a:spcBef>
                <a:spcPts val="600"/>
              </a:spcBef>
              <a:spcAft>
                <a:spcPct val="0"/>
              </a:spcAft>
              <a:buSzPct val="90000"/>
              <a:buChar char="–"/>
              <a:defRPr kumimoji="1" sz="1600">
                <a:solidFill>
                  <a:schemeClr val="tx1"/>
                </a:solidFill>
                <a:latin typeface="+mn-lt"/>
                <a:ea typeface="+mn-ea"/>
                <a:cs typeface="メイリオ" pitchFamily="50" charset="-128"/>
              </a:defRPr>
            </a:lvl3pPr>
            <a:lvl4pPr marL="1228725" indent="-158750" algn="l" rtl="0" eaLnBrk="1" fontAlgn="base" hangingPunct="1">
              <a:spcBef>
                <a:spcPts val="600"/>
              </a:spcBef>
              <a:spcAft>
                <a:spcPct val="0"/>
              </a:spcAft>
              <a:buSzPct val="70000"/>
              <a:buFont typeface="Arial" panose="020B0604020202020204" pitchFamily="34" charset="0"/>
              <a:buChar char="○"/>
              <a:defRPr kumimoji="1" sz="1600">
                <a:solidFill>
                  <a:schemeClr val="tx1"/>
                </a:solidFill>
                <a:latin typeface="+mn-lt"/>
                <a:ea typeface="+mn-ea"/>
                <a:cs typeface="メイリオ" pitchFamily="50" charset="-128"/>
              </a:defRPr>
            </a:lvl4pPr>
            <a:lvl5pPr marL="1617663" indent="-176213" algn="l" rtl="0" eaLnBrk="1" fontAlgn="base" hangingPunct="1">
              <a:spcBef>
                <a:spcPts val="600"/>
              </a:spcBef>
              <a:spcAft>
                <a:spcPct val="0"/>
              </a:spcAft>
              <a:buSzPct val="70000"/>
              <a:buChar char="–"/>
              <a:defRPr kumimoji="1" sz="1600">
                <a:solidFill>
                  <a:schemeClr val="tx1"/>
                </a:solidFill>
                <a:latin typeface="+mn-lt"/>
                <a:ea typeface="+mn-ea"/>
                <a:cs typeface="メイリオ" pitchFamily="50" charset="-128"/>
              </a:defRPr>
            </a:lvl5pPr>
            <a:lvl6pPr marL="2038350" indent="0" algn="l" rtl="0" eaLnBrk="1" fontAlgn="base" hangingPunct="1">
              <a:spcBef>
                <a:spcPct val="30000"/>
              </a:spcBef>
              <a:spcAft>
                <a:spcPct val="0"/>
              </a:spcAft>
              <a:buSzPct val="70000"/>
              <a:buNone/>
              <a:defRPr kumimoji="1">
                <a:solidFill>
                  <a:schemeClr val="tx1"/>
                </a:solidFill>
                <a:latin typeface="+mn-lt"/>
                <a:ea typeface="+mn-ea"/>
              </a:defRPr>
            </a:lvl6pPr>
            <a:lvl7pPr marL="2724150" indent="-228600" algn="l" rtl="0" eaLnBrk="1" fontAlgn="base" hangingPunct="1">
              <a:spcBef>
                <a:spcPct val="30000"/>
              </a:spcBef>
              <a:spcAft>
                <a:spcPct val="0"/>
              </a:spcAft>
              <a:buSzPct val="70000"/>
              <a:buChar char="–"/>
              <a:defRPr kumimoji="1">
                <a:solidFill>
                  <a:schemeClr val="tx1"/>
                </a:solidFill>
                <a:latin typeface="+mn-lt"/>
                <a:ea typeface="+mn-ea"/>
              </a:defRPr>
            </a:lvl7pPr>
            <a:lvl8pPr marL="3181350" indent="-228600" algn="l" rtl="0" eaLnBrk="1" fontAlgn="base" hangingPunct="1">
              <a:spcBef>
                <a:spcPct val="30000"/>
              </a:spcBef>
              <a:spcAft>
                <a:spcPct val="0"/>
              </a:spcAft>
              <a:buSzPct val="70000"/>
              <a:buChar char="–"/>
              <a:defRPr kumimoji="1">
                <a:solidFill>
                  <a:schemeClr val="tx1"/>
                </a:solidFill>
                <a:latin typeface="+mn-lt"/>
                <a:ea typeface="+mn-ea"/>
              </a:defRPr>
            </a:lvl8pPr>
            <a:lvl9pPr marL="3638550" indent="-228600" algn="l" rtl="0" eaLnBrk="1" fontAlgn="base" hangingPunct="1">
              <a:spcBef>
                <a:spcPct val="30000"/>
              </a:spcBef>
              <a:spcAft>
                <a:spcPct val="0"/>
              </a:spcAft>
              <a:buSzPct val="70000"/>
              <a:buChar char="–"/>
              <a:defRPr kumimoji="1">
                <a:solidFill>
                  <a:schemeClr val="tx1"/>
                </a:solidFill>
                <a:latin typeface="+mn-lt"/>
                <a:ea typeface="+mn-ea"/>
              </a:defRPr>
            </a:lvl9pPr>
          </a:lstStyle>
          <a:p>
            <a:pPr defTabSz="538163">
              <a:lnSpc>
                <a:spcPct val="80000"/>
              </a:lnSpc>
              <a:spcBef>
                <a:spcPts val="0"/>
              </a:spcBef>
            </a:pPr>
            <a:r>
              <a:rPr lang="en-US" sz="800" baseline="30000">
                <a:latin typeface="+mn-lt"/>
                <a:ea typeface="+mn-ea"/>
              </a:rPr>
              <a:t>*</a:t>
            </a:r>
            <a:r>
              <a:rPr lang="en-US" altLang="ja-JP" sz="800">
                <a:cs typeface="Arial" panose="020B0604020202020204" pitchFamily="34" charset="0"/>
              </a:rPr>
              <a:t> Movie Sentiment Analysis repository: </a:t>
            </a:r>
            <a:r>
              <a:rPr lang="en-US" altLang="ja-JP" sz="800">
                <a:solidFill>
                  <a:schemeClr val="tx2">
                    <a:lumMod val="75000"/>
                  </a:schemeClr>
                </a:solidFill>
                <a:cs typeface="Arial" panose="020B0604020202020204" pitchFamily="34" charset="0"/>
                <a:hlinkClick r:id="rId2">
                  <a:extLst>
                    <a:ext uri="{A12FA001-AC4F-418D-AE19-62706E023703}">
                      <ahyp:hlinkClr xmlns:ahyp="http://schemas.microsoft.com/office/drawing/2018/hyperlinkcolor" val="tx"/>
                    </a:ext>
                  </a:extLst>
                </a:hlinkClick>
              </a:rPr>
              <a:t>https://github.com/abccastro/Movie-Sentiment-Analysis</a:t>
            </a:r>
            <a:endParaRPr lang="en-US" altLang="ja-JP" sz="800">
              <a:solidFill>
                <a:schemeClr val="tx2">
                  <a:lumMod val="75000"/>
                </a:schemeClr>
              </a:solidFill>
              <a:cs typeface="Arial" panose="020B0604020202020204" pitchFamily="34" charset="0"/>
            </a:endParaRPr>
          </a:p>
        </p:txBody>
      </p:sp>
      <p:sp>
        <p:nvSpPr>
          <p:cNvPr id="5" name="Pentagon 3">
            <a:extLst>
              <a:ext uri="{FF2B5EF4-FFF2-40B4-BE49-F238E27FC236}">
                <a16:creationId xmlns:a16="http://schemas.microsoft.com/office/drawing/2014/main" id="{F11484AE-7E62-ADAA-D8C2-95B76320FAE2}"/>
              </a:ext>
            </a:extLst>
          </p:cNvPr>
          <p:cNvSpPr/>
          <p:nvPr/>
        </p:nvSpPr>
        <p:spPr bwMode="auto">
          <a:xfrm>
            <a:off x="1311331" y="5234323"/>
            <a:ext cx="1818875" cy="523214"/>
          </a:xfrm>
          <a:prstGeom prst="homePlate">
            <a:avLst/>
          </a:prstGeom>
          <a:solidFill>
            <a:schemeClr val="tx2"/>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200" b="1" i="0" u="none" strike="noStrike" cap="none" normalizeH="0" baseline="0">
                <a:ln>
                  <a:noFill/>
                </a:ln>
                <a:solidFill>
                  <a:schemeClr val="bg1"/>
                </a:solidFill>
                <a:effectLst/>
                <a:latin typeface="+mn-lt"/>
                <a:ea typeface="+mn-ea"/>
              </a:rPr>
              <a:t>task</a:t>
            </a:r>
          </a:p>
        </p:txBody>
      </p:sp>
      <p:sp>
        <p:nvSpPr>
          <p:cNvPr id="6" name="Chevron 6">
            <a:extLst>
              <a:ext uri="{FF2B5EF4-FFF2-40B4-BE49-F238E27FC236}">
                <a16:creationId xmlns:a16="http://schemas.microsoft.com/office/drawing/2014/main" id="{4029A7B2-8326-2C3B-A276-79982DCE4108}"/>
              </a:ext>
            </a:extLst>
          </p:cNvPr>
          <p:cNvSpPr/>
          <p:nvPr/>
        </p:nvSpPr>
        <p:spPr bwMode="auto">
          <a:xfrm>
            <a:off x="3083916" y="5234322"/>
            <a:ext cx="1818875" cy="523214"/>
          </a:xfrm>
          <a:prstGeom prst="chevron">
            <a:avLst/>
          </a:prstGeom>
          <a:solidFill>
            <a:schemeClr val="tx2"/>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b="1">
                <a:solidFill>
                  <a:schemeClr val="bg1"/>
                </a:solidFill>
                <a:latin typeface="+mn-lt"/>
                <a:ea typeface="+mn-ea"/>
              </a:rPr>
              <a:t>dev</a:t>
            </a:r>
            <a:endParaRPr kumimoji="1" lang="en-US" sz="1200" b="0" i="0" u="none" strike="noStrike" cap="none" normalizeH="0" baseline="0">
              <a:ln>
                <a:noFill/>
              </a:ln>
              <a:solidFill>
                <a:schemeClr val="bg1"/>
              </a:solidFill>
              <a:effectLst/>
              <a:latin typeface="+mn-lt"/>
              <a:ea typeface="+mn-ea"/>
            </a:endParaRPr>
          </a:p>
        </p:txBody>
      </p:sp>
      <p:sp>
        <p:nvSpPr>
          <p:cNvPr id="7" name="Chevron 6">
            <a:extLst>
              <a:ext uri="{FF2B5EF4-FFF2-40B4-BE49-F238E27FC236}">
                <a16:creationId xmlns:a16="http://schemas.microsoft.com/office/drawing/2014/main" id="{3024139D-12A8-C554-B1AD-6747DC8EF12C}"/>
              </a:ext>
            </a:extLst>
          </p:cNvPr>
          <p:cNvSpPr/>
          <p:nvPr/>
        </p:nvSpPr>
        <p:spPr bwMode="auto">
          <a:xfrm>
            <a:off x="4856503" y="5234323"/>
            <a:ext cx="1818875" cy="523214"/>
          </a:xfrm>
          <a:prstGeom prst="chevron">
            <a:avLst/>
          </a:prstGeom>
          <a:solidFill>
            <a:schemeClr val="tx2"/>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b="1">
                <a:solidFill>
                  <a:schemeClr val="bg1"/>
                </a:solidFill>
                <a:latin typeface="+mn-lt"/>
                <a:ea typeface="+mn-ea"/>
              </a:rPr>
              <a:t>test</a:t>
            </a:r>
            <a:endParaRPr kumimoji="1" lang="en-US" sz="1200" b="0" i="0" u="none" strike="noStrike" cap="none" normalizeH="0" baseline="0">
              <a:ln>
                <a:noFill/>
              </a:ln>
              <a:solidFill>
                <a:schemeClr val="bg1"/>
              </a:solidFill>
              <a:effectLst/>
              <a:latin typeface="+mn-lt"/>
              <a:ea typeface="+mn-ea"/>
            </a:endParaRPr>
          </a:p>
        </p:txBody>
      </p:sp>
      <p:sp>
        <p:nvSpPr>
          <p:cNvPr id="8" name="Chevron 6">
            <a:extLst>
              <a:ext uri="{FF2B5EF4-FFF2-40B4-BE49-F238E27FC236}">
                <a16:creationId xmlns:a16="http://schemas.microsoft.com/office/drawing/2014/main" id="{C6B3552A-9178-9203-F183-9F668900E738}"/>
              </a:ext>
            </a:extLst>
          </p:cNvPr>
          <p:cNvSpPr/>
          <p:nvPr/>
        </p:nvSpPr>
        <p:spPr bwMode="auto">
          <a:xfrm>
            <a:off x="6629089" y="5234322"/>
            <a:ext cx="1818875" cy="523214"/>
          </a:xfrm>
          <a:prstGeom prst="chevron">
            <a:avLst/>
          </a:prstGeom>
          <a:solidFill>
            <a:schemeClr val="tx2"/>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b="1">
                <a:solidFill>
                  <a:schemeClr val="bg1"/>
                </a:solidFill>
                <a:latin typeface="+mn-lt"/>
                <a:ea typeface="+mn-ea"/>
              </a:rPr>
              <a:t>prod</a:t>
            </a:r>
            <a:endParaRPr kumimoji="1" lang="en-US" sz="1200" b="0" i="0" u="none" strike="noStrike" cap="none" normalizeH="0" baseline="0">
              <a:ln>
                <a:noFill/>
              </a:ln>
              <a:solidFill>
                <a:schemeClr val="bg1"/>
              </a:solidFill>
              <a:effectLst/>
              <a:latin typeface="+mn-lt"/>
              <a:ea typeface="+mn-ea"/>
            </a:endParaRPr>
          </a:p>
        </p:txBody>
      </p:sp>
    </p:spTree>
    <p:extLst>
      <p:ext uri="{BB962C8B-B14F-4D97-AF65-F5344CB8AC3E}">
        <p14:creationId xmlns:p14="http://schemas.microsoft.com/office/powerpoint/2010/main" val="3716685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4525F374-C4D2-E7C7-169F-7A411A1B85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20248" y="2891929"/>
            <a:ext cx="3665505" cy="10741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34454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13B34-5ACF-8AF1-A369-F73B99667D5D}"/>
              </a:ext>
            </a:extLst>
          </p:cNvPr>
          <p:cNvSpPr>
            <a:spLocks noGrp="1"/>
          </p:cNvSpPr>
          <p:nvPr>
            <p:ph type="title"/>
          </p:nvPr>
        </p:nvSpPr>
        <p:spPr/>
        <p:txBody>
          <a:bodyPr/>
          <a:lstStyle/>
          <a:p>
            <a:r>
              <a:rPr lang="en-US"/>
              <a:t>References</a:t>
            </a:r>
          </a:p>
        </p:txBody>
      </p:sp>
      <p:sp>
        <p:nvSpPr>
          <p:cNvPr id="5" name="TextBox 4">
            <a:extLst>
              <a:ext uri="{FF2B5EF4-FFF2-40B4-BE49-F238E27FC236}">
                <a16:creationId xmlns:a16="http://schemas.microsoft.com/office/drawing/2014/main" id="{8C2A81C2-CB9D-5E0D-1B45-AC1250F47E64}"/>
              </a:ext>
            </a:extLst>
          </p:cNvPr>
          <p:cNvSpPr txBox="1"/>
          <p:nvPr/>
        </p:nvSpPr>
        <p:spPr>
          <a:xfrm>
            <a:off x="457201" y="937549"/>
            <a:ext cx="8991599" cy="4653000"/>
          </a:xfrm>
          <a:prstGeom prst="rect">
            <a:avLst/>
          </a:prstGeom>
          <a:noFill/>
        </p:spPr>
        <p:txBody>
          <a:bodyPr wrap="square" lIns="36000" tIns="36000" rIns="36000" bIns="0" rtlCol="0">
            <a:spAutoFit/>
          </a:bodyPr>
          <a:lstStyle/>
          <a:p>
            <a:pPr marL="341313" lvl="1" indent="-341313">
              <a:spcBef>
                <a:spcPts val="600"/>
              </a:spcBef>
              <a:spcAft>
                <a:spcPts val="600"/>
              </a:spcAft>
              <a:buFont typeface="Arial" panose="020B0604020202020204" pitchFamily="34" charset="0"/>
              <a:buChar char="•"/>
            </a:pPr>
            <a:r>
              <a:rPr lang="en-US">
                <a:latin typeface="+mn-lt"/>
                <a:ea typeface="+mn-ea"/>
              </a:rPr>
              <a:t>Cheema, </a:t>
            </a:r>
            <a:r>
              <a:rPr lang="en-US" err="1">
                <a:latin typeface="+mn-lt"/>
                <a:ea typeface="+mn-ea"/>
              </a:rPr>
              <a:t>Ramish</a:t>
            </a:r>
            <a:r>
              <a:rPr lang="en-US">
                <a:latin typeface="+mn-lt"/>
                <a:ea typeface="+mn-ea"/>
              </a:rPr>
              <a:t>. (2022, November 14). 5 Biggest Movie Production Companies in the World. </a:t>
            </a:r>
            <a:r>
              <a:rPr lang="en-US" i="1">
                <a:latin typeface="+mn-lt"/>
                <a:ea typeface="+mn-ea"/>
              </a:rPr>
              <a:t>Insider Monkey</a:t>
            </a:r>
            <a:r>
              <a:rPr lang="en-US">
                <a:latin typeface="+mn-lt"/>
                <a:ea typeface="+mn-ea"/>
              </a:rPr>
              <a:t>. </a:t>
            </a:r>
            <a:r>
              <a:rPr lang="en-US">
                <a:solidFill>
                  <a:srgbClr val="0070C0"/>
                </a:solidFill>
                <a:latin typeface="+mn-lt"/>
                <a:ea typeface="+mn-ea"/>
                <a:hlinkClick r:id="rId2"/>
              </a:rPr>
              <a:t>https://www.insidermonkey.com/blog/5-biggest-movie-production-companies-in-the-world-1085847/?singlepage=1</a:t>
            </a:r>
            <a:endParaRPr lang="en-US">
              <a:solidFill>
                <a:srgbClr val="0070C0"/>
              </a:solidFill>
              <a:latin typeface="+mn-lt"/>
              <a:ea typeface="+mn-ea"/>
            </a:endParaRPr>
          </a:p>
          <a:p>
            <a:pPr marL="341313" lvl="1" indent="-341313">
              <a:spcBef>
                <a:spcPts val="600"/>
              </a:spcBef>
              <a:spcAft>
                <a:spcPts val="600"/>
              </a:spcAft>
              <a:buFont typeface="Arial" panose="020B0604020202020204" pitchFamily="34" charset="0"/>
              <a:buChar char="•"/>
            </a:pPr>
            <a:r>
              <a:rPr lang="en-US" err="1">
                <a:latin typeface="+mn-lt"/>
                <a:ea typeface="+mn-ea"/>
              </a:rPr>
              <a:t>Violini</a:t>
            </a:r>
            <a:r>
              <a:rPr lang="en-US">
                <a:latin typeface="+mn-lt"/>
                <a:ea typeface="+mn-ea"/>
              </a:rPr>
              <a:t>, Marcello. (2023, October 15) Top 10 OTT Video Streaming Services 2023. </a:t>
            </a:r>
            <a:r>
              <a:rPr lang="en-US" err="1">
                <a:latin typeface="+mn-lt"/>
                <a:ea typeface="+mn-ea"/>
              </a:rPr>
              <a:t>Teyuto</a:t>
            </a:r>
            <a:r>
              <a:rPr lang="en-US">
                <a:latin typeface="+mn-lt"/>
                <a:ea typeface="+mn-ea"/>
              </a:rPr>
              <a:t>. </a:t>
            </a:r>
            <a:r>
              <a:rPr lang="en-US">
                <a:solidFill>
                  <a:srgbClr val="0070C0"/>
                </a:solidFill>
                <a:latin typeface="+mn-lt"/>
                <a:ea typeface="+mn-ea"/>
                <a:hlinkClick r:id="rId3"/>
              </a:rPr>
              <a:t>https://teyuto.com/blog/top-10-ott-video-streaming-services-2023#:~:text=Which%20ott%20platform%20has%20the,200%20million%20subscribers%20in%202023</a:t>
            </a:r>
            <a:endParaRPr lang="en-US">
              <a:solidFill>
                <a:srgbClr val="0070C0"/>
              </a:solidFill>
              <a:latin typeface="+mn-lt"/>
              <a:ea typeface="+mn-ea"/>
            </a:endParaRPr>
          </a:p>
          <a:p>
            <a:pPr marL="341313" lvl="1" indent="-341313">
              <a:spcBef>
                <a:spcPts val="600"/>
              </a:spcBef>
              <a:spcAft>
                <a:spcPts val="600"/>
              </a:spcAft>
              <a:buFont typeface="Arial" panose="020B0604020202020204" pitchFamily="34" charset="0"/>
              <a:buChar char="•"/>
            </a:pPr>
            <a:r>
              <a:rPr lang="en-US">
                <a:latin typeface="+mn-lt"/>
                <a:ea typeface="+mn-ea"/>
              </a:rPr>
              <a:t>(2022 December 07). The Business Model in Film and Television Industries </a:t>
            </a:r>
            <a:r>
              <a:rPr lang="en-US">
                <a:solidFill>
                  <a:srgbClr val="0070C0"/>
                </a:solidFill>
                <a:latin typeface="+mn-lt"/>
                <a:ea typeface="+mn-ea"/>
                <a:hlinkClick r:id="rId4"/>
              </a:rPr>
              <a:t>https://www.storybiz.tech/entertainment/business-model-film-television/</a:t>
            </a:r>
            <a:endParaRPr lang="en-US">
              <a:solidFill>
                <a:srgbClr val="0070C0"/>
              </a:solidFill>
              <a:latin typeface="+mn-lt"/>
              <a:ea typeface="+mn-ea"/>
            </a:endParaRPr>
          </a:p>
          <a:p>
            <a:pPr marL="341313" lvl="1" indent="-341313">
              <a:spcBef>
                <a:spcPts val="600"/>
              </a:spcBef>
              <a:spcAft>
                <a:spcPts val="600"/>
              </a:spcAft>
              <a:buFont typeface="Arial" panose="020B0604020202020204" pitchFamily="34" charset="0"/>
              <a:buChar char="•"/>
            </a:pPr>
            <a:r>
              <a:rPr lang="en-US" err="1">
                <a:latin typeface="+mn-lt"/>
                <a:ea typeface="+mn-ea"/>
              </a:rPr>
              <a:t>Banik</a:t>
            </a:r>
            <a:r>
              <a:rPr lang="en-US">
                <a:latin typeface="+mn-lt"/>
                <a:ea typeface="+mn-ea"/>
              </a:rPr>
              <a:t>, R. (n.d.). The Movies Dataset. Kaggle.</a:t>
            </a:r>
            <a:r>
              <a:rPr lang="en-US">
                <a:solidFill>
                  <a:srgbClr val="0070C0"/>
                </a:solidFill>
                <a:latin typeface="+mn-lt"/>
                <a:ea typeface="+mn-ea"/>
              </a:rPr>
              <a:t> </a:t>
            </a:r>
            <a:r>
              <a:rPr lang="en-US">
                <a:solidFill>
                  <a:srgbClr val="0070C0"/>
                </a:solidFill>
                <a:latin typeface="+mn-lt"/>
                <a:ea typeface="+mn-ea"/>
                <a:hlinkClick r:id="rId5"/>
              </a:rPr>
              <a:t>https://www.kaggle.com/datasets/rounakbanik/the-movies-dataset</a:t>
            </a:r>
            <a:endParaRPr lang="en-US">
              <a:solidFill>
                <a:srgbClr val="0070C0"/>
              </a:solidFill>
              <a:latin typeface="+mn-lt"/>
              <a:ea typeface="+mn-ea"/>
            </a:endParaRPr>
          </a:p>
          <a:p>
            <a:pPr marL="341313" lvl="1" indent="-341313">
              <a:spcBef>
                <a:spcPts val="600"/>
              </a:spcBef>
              <a:spcAft>
                <a:spcPts val="600"/>
              </a:spcAft>
              <a:buFont typeface="Arial" panose="020B0604020202020204" pitchFamily="34" charset="0"/>
              <a:buChar char="•"/>
            </a:pPr>
            <a:r>
              <a:rPr lang="en-US">
                <a:latin typeface="+mn-lt"/>
                <a:ea typeface="+mn-ea"/>
              </a:rPr>
              <a:t>Zhang, X. (n.d.). IMDb Vision and NLP Dataset. Kaggle. </a:t>
            </a:r>
            <a:r>
              <a:rPr lang="en-US">
                <a:latin typeface="+mn-lt"/>
                <a:ea typeface="+mn-ea"/>
                <a:hlinkClick r:id="rId6"/>
              </a:rPr>
              <a:t>https://www.kaggle.com/datasets/raynardj/imdb-vision-and-nlp/data</a:t>
            </a:r>
            <a:endParaRPr lang="en-US">
              <a:latin typeface="+mn-lt"/>
              <a:ea typeface="+mn-ea"/>
            </a:endParaRPr>
          </a:p>
          <a:p>
            <a:pPr marL="341313" lvl="1" indent="-341313">
              <a:spcBef>
                <a:spcPts val="600"/>
              </a:spcBef>
              <a:spcAft>
                <a:spcPts val="600"/>
              </a:spcAft>
              <a:buFont typeface="Arial" panose="020B0604020202020204" pitchFamily="34" charset="0"/>
              <a:buChar char="•"/>
            </a:pPr>
            <a:endParaRPr lang="en-US">
              <a:solidFill>
                <a:srgbClr val="0070C0"/>
              </a:solidFill>
              <a:latin typeface="+mn-lt"/>
              <a:ea typeface="+mn-ea"/>
            </a:endParaRPr>
          </a:p>
          <a:p>
            <a:pPr marL="341313" lvl="1" indent="-341313">
              <a:spcBef>
                <a:spcPts val="600"/>
              </a:spcBef>
              <a:spcAft>
                <a:spcPts val="600"/>
              </a:spcAft>
              <a:buFont typeface="Arial" panose="020B0604020202020204" pitchFamily="34" charset="0"/>
              <a:buChar char="•"/>
            </a:pPr>
            <a:endParaRPr lang="en-US">
              <a:solidFill>
                <a:srgbClr val="0070C0"/>
              </a:solidFill>
              <a:latin typeface="+mn-lt"/>
              <a:ea typeface="+mn-ea"/>
            </a:endParaRPr>
          </a:p>
        </p:txBody>
      </p:sp>
    </p:spTree>
    <p:extLst>
      <p:ext uri="{BB962C8B-B14F-4D97-AF65-F5344CB8AC3E}">
        <p14:creationId xmlns:p14="http://schemas.microsoft.com/office/powerpoint/2010/main" val="1262739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AEFB0-D429-0836-F9FE-61F4296114BE}"/>
              </a:ext>
            </a:extLst>
          </p:cNvPr>
          <p:cNvSpPr>
            <a:spLocks noGrp="1"/>
          </p:cNvSpPr>
          <p:nvPr>
            <p:ph type="title"/>
          </p:nvPr>
        </p:nvSpPr>
        <p:spPr/>
        <p:txBody>
          <a:bodyPr/>
          <a:lstStyle/>
          <a:p>
            <a:r>
              <a:rPr lang="en-US" altLang="ja-JP">
                <a:solidFill>
                  <a:schemeClr val="tx2"/>
                </a:solidFill>
                <a:latin typeface="+mn-lt"/>
                <a:cs typeface="Arial" panose="020B0604020202020204" pitchFamily="34" charset="0"/>
              </a:rPr>
              <a:t>Case Background</a:t>
            </a:r>
            <a:endParaRPr lang="en-US"/>
          </a:p>
        </p:txBody>
      </p:sp>
      <p:sp>
        <p:nvSpPr>
          <p:cNvPr id="4" name="TextBox 3">
            <a:extLst>
              <a:ext uri="{FF2B5EF4-FFF2-40B4-BE49-F238E27FC236}">
                <a16:creationId xmlns:a16="http://schemas.microsoft.com/office/drawing/2014/main" id="{B9F7AAA0-6D2F-909C-1E50-4F93904827DA}"/>
              </a:ext>
            </a:extLst>
          </p:cNvPr>
          <p:cNvSpPr txBox="1"/>
          <p:nvPr/>
        </p:nvSpPr>
        <p:spPr>
          <a:xfrm>
            <a:off x="457201" y="942744"/>
            <a:ext cx="8991599" cy="4653000"/>
          </a:xfrm>
          <a:prstGeom prst="rect">
            <a:avLst/>
          </a:prstGeom>
          <a:noFill/>
        </p:spPr>
        <p:txBody>
          <a:bodyPr wrap="square" lIns="36000" tIns="36000" rIns="36000" bIns="0" rtlCol="0">
            <a:spAutoFit/>
          </a:bodyPr>
          <a:lstStyle/>
          <a:p>
            <a:pPr marL="285750" indent="-285750">
              <a:spcBef>
                <a:spcPts val="600"/>
              </a:spcBef>
              <a:spcAft>
                <a:spcPts val="600"/>
              </a:spcAft>
              <a:buFont typeface="Arial" panose="020B0604020202020204" pitchFamily="34" charset="0"/>
              <a:buChar char="•"/>
            </a:pPr>
            <a:r>
              <a:rPr lang="en-US">
                <a:latin typeface="+mn-lt"/>
                <a:ea typeface="+mn-ea"/>
              </a:rPr>
              <a:t>Movie Reviews have always been a reference point for the audience to decide weather or not to watch movies but from a production standpoint it has not be utilized to its full extent.</a:t>
            </a:r>
          </a:p>
          <a:p>
            <a:pPr marL="285750" indent="-285750">
              <a:spcBef>
                <a:spcPts val="600"/>
              </a:spcBef>
              <a:spcAft>
                <a:spcPts val="600"/>
              </a:spcAft>
              <a:buFont typeface="Arial" panose="020B0604020202020204" pitchFamily="34" charset="0"/>
              <a:buChar char="•"/>
            </a:pPr>
            <a:r>
              <a:rPr lang="en-US">
                <a:latin typeface="+mn-lt"/>
                <a:ea typeface="+mn-ea"/>
              </a:rPr>
              <a:t>This application will allow the producers in the mass media and entertainment industry to not</a:t>
            </a:r>
            <a:r>
              <a:rPr lang="en-CA">
                <a:latin typeface="+mn-lt"/>
                <a:ea typeface="+mn-ea"/>
              </a:rPr>
              <a:t> only</a:t>
            </a:r>
            <a:r>
              <a:rPr lang="en-US">
                <a:latin typeface="+mn-lt"/>
                <a:ea typeface="+mn-ea"/>
              </a:rPr>
              <a:t> understand the sentiment of the audience but also the reasons behind those sentiments.</a:t>
            </a:r>
          </a:p>
          <a:p>
            <a:pPr marL="742950" lvl="1" indent="-285750">
              <a:spcBef>
                <a:spcPts val="600"/>
              </a:spcBef>
              <a:spcAft>
                <a:spcPts val="600"/>
              </a:spcAft>
              <a:buFont typeface="Courier New" panose="02070309020205020404" pitchFamily="49" charset="0"/>
              <a:buChar char="o"/>
            </a:pPr>
            <a:r>
              <a:rPr lang="en-US">
                <a:latin typeface="+mn-lt"/>
                <a:ea typeface="+mn-ea"/>
              </a:rPr>
              <a:t>Behind the scenes, the application uses Natural Language Processing models along with clustering techniques to make sense of the sentiment and get the intent behind those sentiments giving deeper insights into audience opinions, preferences, and pain points. </a:t>
            </a:r>
          </a:p>
          <a:p>
            <a:pPr marL="742950" lvl="1" indent="-285750">
              <a:spcBef>
                <a:spcPts val="600"/>
              </a:spcBef>
              <a:spcAft>
                <a:spcPts val="600"/>
              </a:spcAft>
              <a:buFont typeface="Courier New" panose="02070309020205020404" pitchFamily="49" charset="0"/>
              <a:buChar char="o"/>
            </a:pPr>
            <a:r>
              <a:rPr lang="en-US">
                <a:latin typeface="+mn-lt"/>
                <a:ea typeface="+mn-ea"/>
              </a:rPr>
              <a:t>Help potential clients to potentially get insights on trends in the audience’s sentiment towards specific genre over the years, actors, directors which will aid them in making informed decisions.</a:t>
            </a:r>
          </a:p>
          <a:p>
            <a:pPr marL="285750" indent="-285750">
              <a:spcBef>
                <a:spcPts val="600"/>
              </a:spcBef>
              <a:spcAft>
                <a:spcPts val="600"/>
              </a:spcAft>
              <a:buFont typeface="Arial" panose="020B0604020202020204" pitchFamily="34" charset="0"/>
              <a:buChar char="•"/>
            </a:pPr>
            <a:r>
              <a:rPr lang="en-US">
                <a:latin typeface="+mn-lt"/>
                <a:ea typeface="+mn-ea"/>
              </a:rPr>
              <a:t>Dataset containing movie reviews, details of the movie (genre, budget, cast and crew, ratings) is taken from </a:t>
            </a:r>
            <a:r>
              <a:rPr lang="en-US" dirty="0" err="1">
                <a:latin typeface="+mn-lt"/>
                <a:ea typeface="+mn-ea"/>
              </a:rPr>
              <a:t>Kaggle</a:t>
            </a:r>
            <a:r>
              <a:rPr lang="en-US">
                <a:latin typeface="+mn-lt"/>
                <a:ea typeface="+mn-ea"/>
              </a:rPr>
              <a:t> along with the data accessible to the public on IMDb</a:t>
            </a:r>
            <a:r>
              <a:rPr lang="en-US">
                <a:solidFill>
                  <a:srgbClr val="0070C0"/>
                </a:solidFill>
                <a:latin typeface="+mn-lt"/>
                <a:ea typeface="+mn-ea"/>
              </a:rPr>
              <a:t>, </a:t>
            </a:r>
            <a:r>
              <a:rPr lang="en-US">
                <a:latin typeface="+mn-lt"/>
                <a:ea typeface="+mn-ea"/>
              </a:rPr>
              <a:t>which is used for cross-validating the data collected from </a:t>
            </a:r>
            <a:r>
              <a:rPr lang="en-US" dirty="0" err="1">
                <a:latin typeface="+mn-lt"/>
                <a:ea typeface="+mn-ea"/>
              </a:rPr>
              <a:t>Kaggle</a:t>
            </a:r>
            <a:r>
              <a:rPr lang="en-US">
                <a:latin typeface="+mn-lt"/>
                <a:ea typeface="+mn-ea"/>
              </a:rPr>
              <a:t>.</a:t>
            </a:r>
          </a:p>
          <a:p>
            <a:pPr marL="742950" lvl="1" indent="-285750">
              <a:spcBef>
                <a:spcPts val="600"/>
              </a:spcBef>
              <a:spcAft>
                <a:spcPts val="600"/>
              </a:spcAft>
              <a:buFont typeface="Courier New" panose="02070309020205020404" pitchFamily="49" charset="0"/>
              <a:buChar char="o"/>
            </a:pPr>
            <a:r>
              <a:rPr lang="en-US">
                <a:latin typeface="+mn-lt"/>
                <a:ea typeface="+mn-ea"/>
              </a:rPr>
              <a:t>Dataset containing 500K reviews for movies </a:t>
            </a:r>
          </a:p>
          <a:p>
            <a:pPr lvl="1">
              <a:spcBef>
                <a:spcPts val="600"/>
              </a:spcBef>
              <a:spcAft>
                <a:spcPts val="600"/>
              </a:spcAft>
            </a:pPr>
            <a:endParaRPr lang="en-US">
              <a:latin typeface="+mn-lt"/>
              <a:ea typeface="+mn-ea"/>
            </a:endParaRPr>
          </a:p>
        </p:txBody>
      </p:sp>
    </p:spTree>
    <p:extLst>
      <p:ext uri="{BB962C8B-B14F-4D97-AF65-F5344CB8AC3E}">
        <p14:creationId xmlns:p14="http://schemas.microsoft.com/office/powerpoint/2010/main" val="33945636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372987-E89F-70E1-460B-57B4E589FDA0}"/>
              </a:ext>
            </a:extLst>
          </p:cNvPr>
          <p:cNvSpPr>
            <a:spLocks noGrp="1"/>
          </p:cNvSpPr>
          <p:nvPr>
            <p:ph type="title"/>
          </p:nvPr>
        </p:nvSpPr>
        <p:spPr/>
        <p:txBody>
          <a:bodyPr/>
          <a:lstStyle/>
          <a:p>
            <a:r>
              <a:rPr lang="en-GB"/>
              <a:t> Case Study (1/4) : Marvel Studios</a:t>
            </a:r>
            <a:endParaRPr kumimoji="1" lang="en-GB"/>
          </a:p>
        </p:txBody>
      </p:sp>
      <p:pic>
        <p:nvPicPr>
          <p:cNvPr id="3" name="Picture 2" descr="A movie poster with a group of people&#10;&#10;Description automatically generated">
            <a:extLst>
              <a:ext uri="{FF2B5EF4-FFF2-40B4-BE49-F238E27FC236}">
                <a16:creationId xmlns:a16="http://schemas.microsoft.com/office/drawing/2014/main" id="{77D25541-B644-BE4C-DA45-46B1EBC7ED0A}"/>
              </a:ext>
            </a:extLst>
          </p:cNvPr>
          <p:cNvPicPr>
            <a:picLocks noChangeAspect="1"/>
          </p:cNvPicPr>
          <p:nvPr/>
        </p:nvPicPr>
        <p:blipFill>
          <a:blip r:embed="rId2"/>
          <a:stretch>
            <a:fillRect/>
          </a:stretch>
        </p:blipFill>
        <p:spPr>
          <a:xfrm>
            <a:off x="1731299" y="1395678"/>
            <a:ext cx="1980890" cy="3457499"/>
          </a:xfrm>
          <a:prstGeom prst="rect">
            <a:avLst/>
          </a:prstGeom>
        </p:spPr>
      </p:pic>
      <p:pic>
        <p:nvPicPr>
          <p:cNvPr id="4" name="Picture 3" descr="A screenshot of a movie poster&#10;&#10;Description automatically generated">
            <a:extLst>
              <a:ext uri="{FF2B5EF4-FFF2-40B4-BE49-F238E27FC236}">
                <a16:creationId xmlns:a16="http://schemas.microsoft.com/office/drawing/2014/main" id="{9C01E317-72A3-C63A-31BB-C12C48A5291A}"/>
              </a:ext>
            </a:extLst>
          </p:cNvPr>
          <p:cNvPicPr>
            <a:picLocks noChangeAspect="1"/>
          </p:cNvPicPr>
          <p:nvPr/>
        </p:nvPicPr>
        <p:blipFill>
          <a:blip r:embed="rId3"/>
          <a:stretch>
            <a:fillRect/>
          </a:stretch>
        </p:blipFill>
        <p:spPr>
          <a:xfrm>
            <a:off x="5940901" y="1395678"/>
            <a:ext cx="2071583" cy="3581605"/>
          </a:xfrm>
          <a:prstGeom prst="rect">
            <a:avLst/>
          </a:prstGeom>
        </p:spPr>
      </p:pic>
      <p:pic>
        <p:nvPicPr>
          <p:cNvPr id="5" name="Picture 4" descr="A screen shot of a movie&#10;&#10;Description automatically generated">
            <a:extLst>
              <a:ext uri="{FF2B5EF4-FFF2-40B4-BE49-F238E27FC236}">
                <a16:creationId xmlns:a16="http://schemas.microsoft.com/office/drawing/2014/main" id="{4E6AF9E8-9D8A-CDDE-C922-2D1547F5B009}"/>
              </a:ext>
            </a:extLst>
          </p:cNvPr>
          <p:cNvPicPr>
            <a:picLocks noChangeAspect="1"/>
          </p:cNvPicPr>
          <p:nvPr/>
        </p:nvPicPr>
        <p:blipFill>
          <a:blip r:embed="rId4"/>
          <a:stretch>
            <a:fillRect/>
          </a:stretch>
        </p:blipFill>
        <p:spPr>
          <a:xfrm>
            <a:off x="5299321" y="4822287"/>
            <a:ext cx="3357222" cy="1378386"/>
          </a:xfrm>
          <a:prstGeom prst="rect">
            <a:avLst/>
          </a:prstGeom>
        </p:spPr>
      </p:pic>
      <p:pic>
        <p:nvPicPr>
          <p:cNvPr id="6" name="Picture 5" descr="A screenshot of a movie&#10;&#10;Description automatically generated">
            <a:extLst>
              <a:ext uri="{FF2B5EF4-FFF2-40B4-BE49-F238E27FC236}">
                <a16:creationId xmlns:a16="http://schemas.microsoft.com/office/drawing/2014/main" id="{7FD7F17D-B27F-165F-B434-6C86A8108364}"/>
              </a:ext>
            </a:extLst>
          </p:cNvPr>
          <p:cNvPicPr>
            <a:picLocks noChangeAspect="1"/>
          </p:cNvPicPr>
          <p:nvPr/>
        </p:nvPicPr>
        <p:blipFill>
          <a:blip r:embed="rId5"/>
          <a:stretch>
            <a:fillRect/>
          </a:stretch>
        </p:blipFill>
        <p:spPr>
          <a:xfrm>
            <a:off x="982600" y="4822287"/>
            <a:ext cx="3598316" cy="1378386"/>
          </a:xfrm>
          <a:prstGeom prst="rect">
            <a:avLst/>
          </a:prstGeom>
        </p:spPr>
      </p:pic>
      <p:sp>
        <p:nvSpPr>
          <p:cNvPr id="7" name="TextBox 6">
            <a:extLst>
              <a:ext uri="{FF2B5EF4-FFF2-40B4-BE49-F238E27FC236}">
                <a16:creationId xmlns:a16="http://schemas.microsoft.com/office/drawing/2014/main" id="{4A322D8B-38D6-1BDC-4BC0-A5CF34834AD7}"/>
              </a:ext>
            </a:extLst>
          </p:cNvPr>
          <p:cNvSpPr txBox="1"/>
          <p:nvPr/>
        </p:nvSpPr>
        <p:spPr>
          <a:xfrm>
            <a:off x="826195" y="973783"/>
            <a:ext cx="72768" cy="251795"/>
          </a:xfrm>
          <a:prstGeom prst="rect">
            <a:avLst/>
          </a:prstGeom>
          <a:noFill/>
        </p:spPr>
        <p:txBody>
          <a:bodyPr rot="0" spcFirstLastPara="0" vertOverflow="overflow" horzOverflow="overflow" vert="horz" wrap="none" lIns="36000" tIns="36000" rIns="36000" bIns="0" numCol="1" spcCol="0" rtlCol="0" fromWordArt="0" anchor="t" anchorCtr="0" forceAA="0" compatLnSpc="1">
            <a:prstTxWarp prst="textNoShape">
              <a:avLst/>
            </a:prstTxWarp>
            <a:spAutoFit/>
          </a:bodyPr>
          <a:lstStyle/>
          <a:p>
            <a:pPr algn="l"/>
            <a:endParaRPr lang="en-GB" sz="1400">
              <a:latin typeface="+mn-lt"/>
              <a:ea typeface="+mn-ea"/>
              <a:cs typeface="Segoe UI"/>
            </a:endParaRPr>
          </a:p>
        </p:txBody>
      </p:sp>
      <p:sp>
        <p:nvSpPr>
          <p:cNvPr id="9" name="Rectangle 8">
            <a:extLst>
              <a:ext uri="{FF2B5EF4-FFF2-40B4-BE49-F238E27FC236}">
                <a16:creationId xmlns:a16="http://schemas.microsoft.com/office/drawing/2014/main" id="{71BD4557-DE9E-D564-1020-7364341F6665}"/>
              </a:ext>
            </a:extLst>
          </p:cNvPr>
          <p:cNvSpPr>
            <a:spLocks noChangeArrowheads="1"/>
          </p:cNvSpPr>
          <p:nvPr/>
        </p:nvSpPr>
        <p:spPr bwMode="auto">
          <a:xfrm>
            <a:off x="431856" y="682674"/>
            <a:ext cx="9239794" cy="590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6000" rIns="0" bIns="0" anchor="t"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a:spcBef>
                <a:spcPts val="0"/>
              </a:spcBef>
            </a:pPr>
            <a:r>
              <a:rPr lang="en-US" altLang="ja-JP" sz="1800">
                <a:solidFill>
                  <a:srgbClr val="212121"/>
                </a:solidFill>
                <a:latin typeface="Segoe UI" panose="020B0502040204020203" pitchFamily="34" charset="0"/>
                <a:ea typeface="+mn-ea"/>
                <a:cs typeface="Segoe UI" panose="020B0502040204020203" pitchFamily="34" charset="0"/>
              </a:rPr>
              <a:t>Thor: Love and Thunder released in 2022 rated significantly lower than its prequal Thor: </a:t>
            </a:r>
            <a:r>
              <a:rPr lang="en-US" altLang="ja-JP" sz="1800" err="1">
                <a:solidFill>
                  <a:srgbClr val="212121"/>
                </a:solidFill>
                <a:latin typeface="Segoe UI" panose="020B0502040204020203" pitchFamily="34" charset="0"/>
                <a:ea typeface="+mn-ea"/>
                <a:cs typeface="Segoe UI" panose="020B0502040204020203" pitchFamily="34" charset="0"/>
              </a:rPr>
              <a:t>Ragnarok</a:t>
            </a:r>
            <a:r>
              <a:rPr lang="en-US" altLang="ja-JP" sz="1800">
                <a:solidFill>
                  <a:srgbClr val="212121"/>
                </a:solidFill>
                <a:latin typeface="Segoe UI" panose="020B0502040204020203" pitchFamily="34" charset="0"/>
                <a:ea typeface="+mn-ea"/>
                <a:cs typeface="Segoe UI" panose="020B0502040204020203" pitchFamily="34" charset="0"/>
              </a:rPr>
              <a:t> released in 2017</a:t>
            </a:r>
            <a:endParaRPr lang="ja-JP" altLang="en-US" sz="1800">
              <a:solidFill>
                <a:srgbClr val="212121"/>
              </a:solidFill>
              <a:latin typeface="Segoe UI" panose="020B0502040204020203" pitchFamily="34" charset="0"/>
              <a:ea typeface="+mn-ea"/>
              <a:cs typeface="Segoe UI" panose="020B0502040204020203" pitchFamily="34" charset="0"/>
            </a:endParaRPr>
          </a:p>
        </p:txBody>
      </p:sp>
      <p:sp>
        <p:nvSpPr>
          <p:cNvPr id="10" name="Rectangle 9">
            <a:extLst>
              <a:ext uri="{FF2B5EF4-FFF2-40B4-BE49-F238E27FC236}">
                <a16:creationId xmlns:a16="http://schemas.microsoft.com/office/drawing/2014/main" id="{890FC61F-7EE4-01FB-7AF4-A395C3C2D6C4}"/>
              </a:ext>
            </a:extLst>
          </p:cNvPr>
          <p:cNvSpPr/>
          <p:nvPr/>
        </p:nvSpPr>
        <p:spPr bwMode="auto">
          <a:xfrm>
            <a:off x="1493520" y="5386337"/>
            <a:ext cx="2641600" cy="721360"/>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sp>
        <p:nvSpPr>
          <p:cNvPr id="11" name="Rectangle 10">
            <a:extLst>
              <a:ext uri="{FF2B5EF4-FFF2-40B4-BE49-F238E27FC236}">
                <a16:creationId xmlns:a16="http://schemas.microsoft.com/office/drawing/2014/main" id="{634B70FC-5D68-4F75-BDA5-7FDB162A9E63}"/>
              </a:ext>
            </a:extLst>
          </p:cNvPr>
          <p:cNvSpPr/>
          <p:nvPr/>
        </p:nvSpPr>
        <p:spPr bwMode="auto">
          <a:xfrm>
            <a:off x="5770880" y="5386337"/>
            <a:ext cx="2641600" cy="721360"/>
          </a:xfrm>
          <a:prstGeom prst="rect">
            <a:avLst/>
          </a:prstGeom>
          <a:noFill/>
          <a:ln w="38100" cap="flat" cmpd="sng" algn="ctr">
            <a:solidFill>
              <a:schemeClr val="accent2">
                <a:lumMod val="50000"/>
              </a:schemeClr>
            </a:solid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cxnSp>
        <p:nvCxnSpPr>
          <p:cNvPr id="13" name="Straight Arrow Connector 12">
            <a:extLst>
              <a:ext uri="{FF2B5EF4-FFF2-40B4-BE49-F238E27FC236}">
                <a16:creationId xmlns:a16="http://schemas.microsoft.com/office/drawing/2014/main" id="{D1506772-40AA-6BFD-6E27-8B0B0A478141}"/>
              </a:ext>
            </a:extLst>
          </p:cNvPr>
          <p:cNvCxnSpPr>
            <a:stCxn id="10" idx="3"/>
          </p:cNvCxnSpPr>
          <p:nvPr/>
        </p:nvCxnSpPr>
        <p:spPr bwMode="auto">
          <a:xfrm>
            <a:off x="4135120" y="5747017"/>
            <a:ext cx="1590040" cy="0"/>
          </a:xfrm>
          <a:prstGeom prst="straightConnector1">
            <a:avLst/>
          </a:prstGeom>
          <a:solidFill>
            <a:srgbClr val="FF6600"/>
          </a:solidFill>
          <a:ln w="38100" cap="flat" cmpd="sng" algn="ctr">
            <a:solidFill>
              <a:schemeClr val="accent2">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4337861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431FCB8-349C-4A30-ED77-6B671FA3CE7B}"/>
              </a:ext>
            </a:extLst>
          </p:cNvPr>
          <p:cNvSpPr>
            <a:spLocks noChangeArrowheads="1"/>
          </p:cNvSpPr>
          <p:nvPr/>
        </p:nvSpPr>
        <p:spPr bwMode="auto">
          <a:xfrm>
            <a:off x="431856" y="682674"/>
            <a:ext cx="9239794" cy="31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6000" rIns="0" bIns="0" anchor="t"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a:spcBef>
                <a:spcPts val="0"/>
              </a:spcBef>
            </a:pPr>
            <a:r>
              <a:rPr lang="en-US" altLang="ja-JP" sz="1800">
                <a:solidFill>
                  <a:srgbClr val="212121"/>
                </a:solidFill>
                <a:latin typeface="Segoe UI" panose="020B0502040204020203" pitchFamily="34" charset="0"/>
                <a:ea typeface="+mn-ea"/>
                <a:cs typeface="Segoe UI" panose="020B0502040204020203" pitchFamily="34" charset="0"/>
              </a:rPr>
              <a:t>Factors contributing to the movie being well received by the audience</a:t>
            </a:r>
            <a:endParaRPr lang="ja-JP" altLang="en-US" sz="1800">
              <a:solidFill>
                <a:srgbClr val="212121"/>
              </a:solidFill>
              <a:latin typeface="Segoe UI" panose="020B0502040204020203" pitchFamily="34" charset="0"/>
              <a:ea typeface="+mn-ea"/>
              <a:cs typeface="Segoe UI" panose="020B0502040204020203" pitchFamily="34" charset="0"/>
            </a:endParaRPr>
          </a:p>
        </p:txBody>
      </p:sp>
      <p:sp>
        <p:nvSpPr>
          <p:cNvPr id="2" name="Title 1">
            <a:extLst>
              <a:ext uri="{FF2B5EF4-FFF2-40B4-BE49-F238E27FC236}">
                <a16:creationId xmlns:a16="http://schemas.microsoft.com/office/drawing/2014/main" id="{CE1BC19B-32F2-8788-4F05-F791A9736B66}"/>
              </a:ext>
            </a:extLst>
          </p:cNvPr>
          <p:cNvSpPr>
            <a:spLocks noGrp="1"/>
          </p:cNvSpPr>
          <p:nvPr>
            <p:ph type="title"/>
          </p:nvPr>
        </p:nvSpPr>
        <p:spPr/>
        <p:txBody>
          <a:bodyPr/>
          <a:lstStyle/>
          <a:p>
            <a:r>
              <a:rPr lang="en-GB"/>
              <a:t>Case Study (2/4)</a:t>
            </a:r>
            <a:endParaRPr kumimoji="1" lang="en-GB"/>
          </a:p>
        </p:txBody>
      </p:sp>
      <p:grpSp>
        <p:nvGrpSpPr>
          <p:cNvPr id="35" name="Group 34">
            <a:extLst>
              <a:ext uri="{FF2B5EF4-FFF2-40B4-BE49-F238E27FC236}">
                <a16:creationId xmlns:a16="http://schemas.microsoft.com/office/drawing/2014/main" id="{8A2DCD76-34A2-D60D-B3ED-31EB8B551E19}"/>
              </a:ext>
            </a:extLst>
          </p:cNvPr>
          <p:cNvGrpSpPr/>
          <p:nvPr/>
        </p:nvGrpSpPr>
        <p:grpSpPr>
          <a:xfrm>
            <a:off x="431855" y="1895451"/>
            <a:ext cx="4977169" cy="4878706"/>
            <a:chOff x="314959" y="1895451"/>
            <a:chExt cx="5094066" cy="4878706"/>
          </a:xfrm>
        </p:grpSpPr>
        <p:sp>
          <p:nvSpPr>
            <p:cNvPr id="33" name="Rectangle 32">
              <a:extLst>
                <a:ext uri="{FF2B5EF4-FFF2-40B4-BE49-F238E27FC236}">
                  <a16:creationId xmlns:a16="http://schemas.microsoft.com/office/drawing/2014/main" id="{8C54D10B-49AC-186C-6B52-DDA8B1B5A8E1}"/>
                </a:ext>
              </a:extLst>
            </p:cNvPr>
            <p:cNvSpPr/>
            <p:nvPr/>
          </p:nvSpPr>
          <p:spPr bwMode="auto">
            <a:xfrm>
              <a:off x="314959" y="1895451"/>
              <a:ext cx="5094066" cy="4878706"/>
            </a:xfrm>
            <a:prstGeom prst="rect">
              <a:avLst/>
            </a:prstGeom>
            <a:noFill/>
            <a:ln w="19050" cap="flat" cmpd="sng" algn="ctr">
              <a:solidFill>
                <a:srgbClr val="33CC33"/>
              </a:solidFill>
              <a:prstDash val="dash"/>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grpSp>
          <p:nvGrpSpPr>
            <p:cNvPr id="32" name="Group 31">
              <a:extLst>
                <a:ext uri="{FF2B5EF4-FFF2-40B4-BE49-F238E27FC236}">
                  <a16:creationId xmlns:a16="http://schemas.microsoft.com/office/drawing/2014/main" id="{85DA0E13-E910-577A-18AE-EC26BB7DFAEA}"/>
                </a:ext>
              </a:extLst>
            </p:cNvPr>
            <p:cNvGrpSpPr/>
            <p:nvPr/>
          </p:nvGrpSpPr>
          <p:grpSpPr>
            <a:xfrm>
              <a:off x="431856" y="1968500"/>
              <a:ext cx="4951825" cy="4724164"/>
              <a:chOff x="431856" y="2052320"/>
              <a:chExt cx="4951825" cy="4724164"/>
            </a:xfrm>
          </p:grpSpPr>
          <p:pic>
            <p:nvPicPr>
              <p:cNvPr id="3" name="Picture 2" descr="A screenshot of a video game&#10;&#10;Description automatically generated">
                <a:extLst>
                  <a:ext uri="{FF2B5EF4-FFF2-40B4-BE49-F238E27FC236}">
                    <a16:creationId xmlns:a16="http://schemas.microsoft.com/office/drawing/2014/main" id="{6167BDF9-AFE4-09BD-8EC5-D8437CB56AC9}"/>
                  </a:ext>
                </a:extLst>
              </p:cNvPr>
              <p:cNvPicPr>
                <a:picLocks noChangeAspect="1"/>
              </p:cNvPicPr>
              <p:nvPr/>
            </p:nvPicPr>
            <p:blipFill>
              <a:blip r:embed="rId2"/>
              <a:stretch>
                <a:fillRect/>
              </a:stretch>
            </p:blipFill>
            <p:spPr>
              <a:xfrm>
                <a:off x="431856" y="2956589"/>
                <a:ext cx="4951825" cy="764894"/>
              </a:xfrm>
              <a:prstGeom prst="rect">
                <a:avLst/>
              </a:prstGeom>
            </p:spPr>
          </p:pic>
          <p:pic>
            <p:nvPicPr>
              <p:cNvPr id="6" name="Picture 5" descr="A screenshot of a phone&#10;&#10;Description automatically generated">
                <a:extLst>
                  <a:ext uri="{FF2B5EF4-FFF2-40B4-BE49-F238E27FC236}">
                    <a16:creationId xmlns:a16="http://schemas.microsoft.com/office/drawing/2014/main" id="{A4BF0A16-0284-2663-49F1-9D1AC40C533A}"/>
                  </a:ext>
                </a:extLst>
              </p:cNvPr>
              <p:cNvPicPr>
                <a:picLocks noChangeAspect="1"/>
              </p:cNvPicPr>
              <p:nvPr/>
            </p:nvPicPr>
            <p:blipFill>
              <a:blip r:embed="rId3"/>
              <a:stretch>
                <a:fillRect/>
              </a:stretch>
            </p:blipFill>
            <p:spPr>
              <a:xfrm>
                <a:off x="431856" y="3885937"/>
                <a:ext cx="4951825" cy="876637"/>
              </a:xfrm>
              <a:prstGeom prst="rect">
                <a:avLst/>
              </a:prstGeom>
            </p:spPr>
          </p:pic>
          <p:pic>
            <p:nvPicPr>
              <p:cNvPr id="7" name="Picture 6" descr="A screenshot of a review&#10;&#10;Description automatically generated">
                <a:extLst>
                  <a:ext uri="{FF2B5EF4-FFF2-40B4-BE49-F238E27FC236}">
                    <a16:creationId xmlns:a16="http://schemas.microsoft.com/office/drawing/2014/main" id="{5D0A5316-FCD4-0CBC-92F4-8369A62F73B4}"/>
                  </a:ext>
                </a:extLst>
              </p:cNvPr>
              <p:cNvPicPr>
                <a:picLocks noChangeAspect="1"/>
              </p:cNvPicPr>
              <p:nvPr/>
            </p:nvPicPr>
            <p:blipFill>
              <a:blip r:embed="rId4"/>
              <a:stretch>
                <a:fillRect/>
              </a:stretch>
            </p:blipFill>
            <p:spPr>
              <a:xfrm>
                <a:off x="431856" y="4927028"/>
                <a:ext cx="4951825" cy="988098"/>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0766A6AD-0CAE-1B03-EE47-004915CEC971}"/>
                  </a:ext>
                </a:extLst>
              </p:cNvPr>
              <p:cNvPicPr>
                <a:picLocks noChangeAspect="1"/>
              </p:cNvPicPr>
              <p:nvPr/>
            </p:nvPicPr>
            <p:blipFill>
              <a:blip r:embed="rId5"/>
              <a:stretch>
                <a:fillRect/>
              </a:stretch>
            </p:blipFill>
            <p:spPr>
              <a:xfrm>
                <a:off x="431856" y="6079579"/>
                <a:ext cx="4951825" cy="696905"/>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41AF150A-6530-384A-9DA5-ED40A9F44832}"/>
                  </a:ext>
                </a:extLst>
              </p:cNvPr>
              <p:cNvPicPr>
                <a:picLocks noChangeAspect="1"/>
              </p:cNvPicPr>
              <p:nvPr/>
            </p:nvPicPr>
            <p:blipFill>
              <a:blip r:embed="rId6"/>
              <a:stretch>
                <a:fillRect/>
              </a:stretch>
            </p:blipFill>
            <p:spPr>
              <a:xfrm>
                <a:off x="431856" y="2052320"/>
                <a:ext cx="4951825" cy="739815"/>
              </a:xfrm>
              <a:prstGeom prst="rect">
                <a:avLst/>
              </a:prstGeom>
            </p:spPr>
          </p:pic>
        </p:grpSp>
      </p:grpSp>
      <p:grpSp>
        <p:nvGrpSpPr>
          <p:cNvPr id="22" name="グループ化 3">
            <a:extLst>
              <a:ext uri="{FF2B5EF4-FFF2-40B4-BE49-F238E27FC236}">
                <a16:creationId xmlns:a16="http://schemas.microsoft.com/office/drawing/2014/main" id="{C659929F-6577-E36C-0723-62077D3CC26B}"/>
              </a:ext>
            </a:extLst>
          </p:cNvPr>
          <p:cNvGrpSpPr/>
          <p:nvPr/>
        </p:nvGrpSpPr>
        <p:grpSpPr>
          <a:xfrm>
            <a:off x="457201" y="1481829"/>
            <a:ext cx="4951824" cy="318925"/>
            <a:chOff x="1016089" y="1443626"/>
            <a:chExt cx="2016000" cy="339247"/>
          </a:xfrm>
        </p:grpSpPr>
        <p:sp>
          <p:nvSpPr>
            <p:cNvPr id="23" name="Rectangle 2">
              <a:extLst>
                <a:ext uri="{FF2B5EF4-FFF2-40B4-BE49-F238E27FC236}">
                  <a16:creationId xmlns:a16="http://schemas.microsoft.com/office/drawing/2014/main" id="{D68CE6C0-C09F-ADC1-BFB9-86AEB2CCC0D2}"/>
                </a:ext>
              </a:extLst>
            </p:cNvPr>
            <p:cNvSpPr>
              <a:spLocks noChangeArrowheads="1"/>
            </p:cNvSpPr>
            <p:nvPr/>
          </p:nvSpPr>
          <p:spPr bwMode="auto">
            <a:xfrm>
              <a:off x="1535698" y="1443626"/>
              <a:ext cx="976810" cy="339246"/>
            </a:xfrm>
            <a:prstGeom prst="rect">
              <a:avLst/>
            </a:prstGeom>
            <a:noFill/>
            <a:ln w="9525">
              <a:noFill/>
              <a:miter lim="800000"/>
              <a:headEnd/>
              <a:tailEnd/>
            </a:ln>
            <a:effectLst/>
          </p:spPr>
          <p:txBody>
            <a:bodyPr wrap="none" lIns="36000" tIns="36000" rIns="36000" bIns="36000" anchor="b"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1600" b="1" i="0" u="none" strike="noStrike" kern="1200" cap="none" spc="0" normalizeH="0" baseline="0" noProof="0">
                  <a:ln>
                    <a:noFill/>
                  </a:ln>
                  <a:solidFill>
                    <a:srgbClr val="4A4A4A"/>
                  </a:solidFill>
                  <a:effectLst/>
                  <a:uLnTx/>
                  <a:uFillTx/>
                  <a:latin typeface="+mj-lt"/>
                  <a:ea typeface="Meiryo UI"/>
                </a:rPr>
                <a:t>Thor: </a:t>
              </a:r>
              <a:r>
                <a:rPr lang="en-US" altLang="ja-JP" b="1" err="1">
                  <a:solidFill>
                    <a:srgbClr val="4A4A4A"/>
                  </a:solidFill>
                  <a:latin typeface="+mj-lt"/>
                  <a:ea typeface="Meiryo UI"/>
                </a:rPr>
                <a:t>Ragnarok</a:t>
              </a:r>
              <a:r>
                <a:rPr lang="en-US" altLang="ja-JP" b="1">
                  <a:solidFill>
                    <a:srgbClr val="4A4A4A"/>
                  </a:solidFill>
                  <a:latin typeface="+mj-lt"/>
                  <a:ea typeface="Meiryo UI"/>
                </a:rPr>
                <a:t> </a:t>
              </a:r>
              <a:r>
                <a:rPr kumimoji="1" lang="en-US" altLang="ja-JP" sz="1600" b="1" i="0" u="none" strike="noStrike" kern="1200" cap="none" spc="0" normalizeH="0" baseline="0" noProof="0">
                  <a:ln>
                    <a:noFill/>
                  </a:ln>
                  <a:solidFill>
                    <a:srgbClr val="4A4A4A"/>
                  </a:solidFill>
                  <a:effectLst/>
                  <a:uLnTx/>
                  <a:uFillTx/>
                  <a:latin typeface="+mj-lt"/>
                  <a:ea typeface="Meiryo UI"/>
                </a:rPr>
                <a:t>Reviews</a:t>
              </a:r>
              <a:endParaRPr kumimoji="1" lang="ja-JP" altLang="en-US" sz="1600" b="1" i="0" u="none" strike="noStrike" kern="1200" cap="none" spc="0" normalizeH="0" baseline="0" noProof="0">
                <a:ln>
                  <a:noFill/>
                </a:ln>
                <a:solidFill>
                  <a:srgbClr val="4A4A4A"/>
                </a:solidFill>
                <a:effectLst/>
                <a:uLnTx/>
                <a:uFillTx/>
                <a:latin typeface="+mj-lt"/>
                <a:ea typeface="Meiryo UI"/>
              </a:endParaRPr>
            </a:p>
          </p:txBody>
        </p:sp>
        <p:cxnSp>
          <p:nvCxnSpPr>
            <p:cNvPr id="25" name="直線コネクタ 4">
              <a:extLst>
                <a:ext uri="{FF2B5EF4-FFF2-40B4-BE49-F238E27FC236}">
                  <a16:creationId xmlns:a16="http://schemas.microsoft.com/office/drawing/2014/main" id="{AACEE271-DA50-B931-1A62-E774B086C435}"/>
                </a:ext>
              </a:extLst>
            </p:cNvPr>
            <p:cNvCxnSpPr/>
            <p:nvPr/>
          </p:nvCxnSpPr>
          <p:spPr bwMode="auto">
            <a:xfrm>
              <a:off x="1016089" y="1782873"/>
              <a:ext cx="2016000" cy="0"/>
            </a:xfrm>
            <a:prstGeom prst="line">
              <a:avLst/>
            </a:prstGeom>
            <a:solidFill>
              <a:srgbClr val="FF6600"/>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6" name="Rectangle 2">
            <a:extLst>
              <a:ext uri="{FF2B5EF4-FFF2-40B4-BE49-F238E27FC236}">
                <a16:creationId xmlns:a16="http://schemas.microsoft.com/office/drawing/2014/main" id="{6C603450-D67C-8623-0B4F-51F40DDE3E9D}"/>
              </a:ext>
            </a:extLst>
          </p:cNvPr>
          <p:cNvSpPr>
            <a:spLocks noChangeArrowheads="1"/>
          </p:cNvSpPr>
          <p:nvPr/>
        </p:nvSpPr>
        <p:spPr bwMode="auto">
          <a:xfrm>
            <a:off x="6094726" y="3428999"/>
            <a:ext cx="3379417" cy="1554807"/>
          </a:xfrm>
          <a:prstGeom prst="rect">
            <a:avLst/>
          </a:prstGeom>
          <a:solidFill>
            <a:srgbClr val="33CC33"/>
          </a:solidFill>
          <a:ln w="9525">
            <a:noFill/>
            <a:miter lim="800000"/>
            <a:headEnd/>
            <a:tailEnd/>
          </a:ln>
          <a:effectLst/>
        </p:spPr>
        <p:txBody>
          <a:bodyPr wrap="square" lIns="72000" tIns="72000" rIns="72000" bIns="72000" anchor="ctr" anchorCtr="0">
            <a:no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a:spcBef>
                <a:spcPts val="0"/>
              </a:spcBef>
            </a:pPr>
            <a:r>
              <a:rPr lang="en-US" altLang="ja-JP" sz="1600">
                <a:solidFill>
                  <a:srgbClr val="212121"/>
                </a:solidFill>
                <a:latin typeface="Segoe UI" panose="020B0502040204020203" pitchFamily="34" charset="0"/>
                <a:ea typeface="+mn-ea"/>
                <a:cs typeface="Segoe UI" panose="020B0502040204020203" pitchFamily="34" charset="0"/>
              </a:rPr>
              <a:t>Significant mentions of director Taika and directing style infusing comedy into the franchise in the positive reviews of the first movie </a:t>
            </a:r>
            <a:endParaRPr lang="ja-JP" altLang="en-US" sz="1600">
              <a:solidFill>
                <a:srgbClr val="212121"/>
              </a:solidFill>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4402707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7E0B4A-07D6-C4CB-5243-47665BC82692}"/>
              </a:ext>
            </a:extLst>
          </p:cNvPr>
          <p:cNvSpPr>
            <a:spLocks noGrp="1"/>
          </p:cNvSpPr>
          <p:nvPr>
            <p:ph type="title"/>
          </p:nvPr>
        </p:nvSpPr>
        <p:spPr/>
        <p:txBody>
          <a:bodyPr/>
          <a:lstStyle/>
          <a:p>
            <a:r>
              <a:rPr lang="en-GB"/>
              <a:t>Case Study (3/4)</a:t>
            </a:r>
            <a:endParaRPr kumimoji="1" lang="en-GB"/>
          </a:p>
        </p:txBody>
      </p:sp>
      <p:grpSp>
        <p:nvGrpSpPr>
          <p:cNvPr id="29" name="Group 28">
            <a:extLst>
              <a:ext uri="{FF2B5EF4-FFF2-40B4-BE49-F238E27FC236}">
                <a16:creationId xmlns:a16="http://schemas.microsoft.com/office/drawing/2014/main" id="{A15583A4-640F-AEB2-05B3-A838F93FFD5F}"/>
              </a:ext>
            </a:extLst>
          </p:cNvPr>
          <p:cNvGrpSpPr/>
          <p:nvPr/>
        </p:nvGrpSpPr>
        <p:grpSpPr>
          <a:xfrm>
            <a:off x="457200" y="1844137"/>
            <a:ext cx="4951825" cy="4805564"/>
            <a:chOff x="457200" y="1844137"/>
            <a:chExt cx="4951825" cy="4805564"/>
          </a:xfrm>
        </p:grpSpPr>
        <p:pic>
          <p:nvPicPr>
            <p:cNvPr id="4" name="Picture 3" descr="A screenshot of a phone&#10;&#10;Description automatically generated">
              <a:extLst>
                <a:ext uri="{FF2B5EF4-FFF2-40B4-BE49-F238E27FC236}">
                  <a16:creationId xmlns:a16="http://schemas.microsoft.com/office/drawing/2014/main" id="{127340BA-D378-92BE-8608-B0ACB5636897}"/>
                </a:ext>
              </a:extLst>
            </p:cNvPr>
            <p:cNvPicPr>
              <a:picLocks noChangeAspect="1"/>
            </p:cNvPicPr>
            <p:nvPr/>
          </p:nvPicPr>
          <p:blipFill>
            <a:blip r:embed="rId2"/>
            <a:stretch>
              <a:fillRect/>
            </a:stretch>
          </p:blipFill>
          <p:spPr>
            <a:xfrm>
              <a:off x="457200" y="1844137"/>
              <a:ext cx="4951825" cy="1029769"/>
            </a:xfrm>
            <a:prstGeom prst="rect">
              <a:avLst/>
            </a:prstGeom>
          </p:spPr>
        </p:pic>
        <p:pic>
          <p:nvPicPr>
            <p:cNvPr id="5" name="Picture 4" descr="A screenshot of a phone&#10;&#10;Description automatically generated">
              <a:extLst>
                <a:ext uri="{FF2B5EF4-FFF2-40B4-BE49-F238E27FC236}">
                  <a16:creationId xmlns:a16="http://schemas.microsoft.com/office/drawing/2014/main" id="{9FF51EAE-D29F-780A-0F8A-88744D506AFB}"/>
                </a:ext>
              </a:extLst>
            </p:cNvPr>
            <p:cNvPicPr>
              <a:picLocks noChangeAspect="1"/>
            </p:cNvPicPr>
            <p:nvPr/>
          </p:nvPicPr>
          <p:blipFill>
            <a:blip r:embed="rId3"/>
            <a:stretch>
              <a:fillRect/>
            </a:stretch>
          </p:blipFill>
          <p:spPr>
            <a:xfrm>
              <a:off x="457200" y="3082021"/>
              <a:ext cx="4951825" cy="628459"/>
            </a:xfrm>
            <a:prstGeom prst="rect">
              <a:avLst/>
            </a:prstGeom>
          </p:spPr>
        </p:pic>
        <p:pic>
          <p:nvPicPr>
            <p:cNvPr id="6" name="Picture 5" descr="A screenshot of a phone&#10;&#10;Description automatically generated">
              <a:extLst>
                <a:ext uri="{FF2B5EF4-FFF2-40B4-BE49-F238E27FC236}">
                  <a16:creationId xmlns:a16="http://schemas.microsoft.com/office/drawing/2014/main" id="{12047494-C4D5-DF73-D85A-9EBC8C049455}"/>
                </a:ext>
              </a:extLst>
            </p:cNvPr>
            <p:cNvPicPr>
              <a:picLocks noChangeAspect="1"/>
            </p:cNvPicPr>
            <p:nvPr/>
          </p:nvPicPr>
          <p:blipFill>
            <a:blip r:embed="rId4"/>
            <a:stretch>
              <a:fillRect/>
            </a:stretch>
          </p:blipFill>
          <p:spPr>
            <a:xfrm>
              <a:off x="457200" y="3918595"/>
              <a:ext cx="4951825" cy="717461"/>
            </a:xfrm>
            <a:prstGeom prst="rect">
              <a:avLst/>
            </a:prstGeom>
          </p:spPr>
        </p:pic>
        <p:pic>
          <p:nvPicPr>
            <p:cNvPr id="7" name="Picture 6" descr="A screenshot of a phone&#10;&#10;Description automatically generated">
              <a:extLst>
                <a:ext uri="{FF2B5EF4-FFF2-40B4-BE49-F238E27FC236}">
                  <a16:creationId xmlns:a16="http://schemas.microsoft.com/office/drawing/2014/main" id="{DEA8BE89-C2C8-EEC0-A704-E154DBF55294}"/>
                </a:ext>
              </a:extLst>
            </p:cNvPr>
            <p:cNvPicPr>
              <a:picLocks noChangeAspect="1"/>
            </p:cNvPicPr>
            <p:nvPr/>
          </p:nvPicPr>
          <p:blipFill>
            <a:blip r:embed="rId5"/>
            <a:stretch>
              <a:fillRect/>
            </a:stretch>
          </p:blipFill>
          <p:spPr>
            <a:xfrm>
              <a:off x="457200" y="4844171"/>
              <a:ext cx="4951825" cy="836865"/>
            </a:xfrm>
            <a:prstGeom prst="rect">
              <a:avLst/>
            </a:prstGeom>
          </p:spPr>
        </p:pic>
        <p:pic>
          <p:nvPicPr>
            <p:cNvPr id="8" name="Picture 7" descr="A screenshot of a phone&#10;&#10;Description automatically generated">
              <a:extLst>
                <a:ext uri="{FF2B5EF4-FFF2-40B4-BE49-F238E27FC236}">
                  <a16:creationId xmlns:a16="http://schemas.microsoft.com/office/drawing/2014/main" id="{5685396D-966E-1376-9141-8340797817CF}"/>
                </a:ext>
              </a:extLst>
            </p:cNvPr>
            <p:cNvPicPr>
              <a:picLocks noChangeAspect="1"/>
            </p:cNvPicPr>
            <p:nvPr/>
          </p:nvPicPr>
          <p:blipFill>
            <a:blip r:embed="rId6"/>
            <a:stretch>
              <a:fillRect/>
            </a:stretch>
          </p:blipFill>
          <p:spPr>
            <a:xfrm>
              <a:off x="457200" y="5889152"/>
              <a:ext cx="4951825" cy="760549"/>
            </a:xfrm>
            <a:prstGeom prst="rect">
              <a:avLst/>
            </a:prstGeom>
          </p:spPr>
        </p:pic>
      </p:grpSp>
      <p:grpSp>
        <p:nvGrpSpPr>
          <p:cNvPr id="17" name="グループ化 3">
            <a:extLst>
              <a:ext uri="{FF2B5EF4-FFF2-40B4-BE49-F238E27FC236}">
                <a16:creationId xmlns:a16="http://schemas.microsoft.com/office/drawing/2014/main" id="{CACFD2AF-F039-E723-5BB9-6180758692C6}"/>
              </a:ext>
            </a:extLst>
          </p:cNvPr>
          <p:cNvGrpSpPr/>
          <p:nvPr/>
        </p:nvGrpSpPr>
        <p:grpSpPr>
          <a:xfrm>
            <a:off x="457201" y="1481829"/>
            <a:ext cx="4951824" cy="318925"/>
            <a:chOff x="1016089" y="1443626"/>
            <a:chExt cx="2016000" cy="339247"/>
          </a:xfrm>
        </p:grpSpPr>
        <p:sp>
          <p:nvSpPr>
            <p:cNvPr id="18" name="Rectangle 2">
              <a:extLst>
                <a:ext uri="{FF2B5EF4-FFF2-40B4-BE49-F238E27FC236}">
                  <a16:creationId xmlns:a16="http://schemas.microsoft.com/office/drawing/2014/main" id="{BA98111C-B29F-B363-C5E2-CF9342355A13}"/>
                </a:ext>
              </a:extLst>
            </p:cNvPr>
            <p:cNvSpPr>
              <a:spLocks noChangeArrowheads="1"/>
            </p:cNvSpPr>
            <p:nvPr/>
          </p:nvSpPr>
          <p:spPr bwMode="auto">
            <a:xfrm>
              <a:off x="1392028" y="1443626"/>
              <a:ext cx="1315421" cy="339246"/>
            </a:xfrm>
            <a:prstGeom prst="rect">
              <a:avLst/>
            </a:prstGeom>
            <a:noFill/>
            <a:ln w="9525">
              <a:noFill/>
              <a:miter lim="800000"/>
              <a:headEnd/>
              <a:tailEnd/>
            </a:ln>
            <a:effectLst/>
          </p:spPr>
          <p:txBody>
            <a:bodyPr wrap="square" lIns="36000" tIns="36000" rIns="36000" bIns="36000" anchor="b"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algn="ctr">
                <a:spcBef>
                  <a:spcPts val="0"/>
                </a:spcBef>
                <a:defRPr/>
              </a:pPr>
              <a:r>
                <a:rPr kumimoji="1" lang="en-US" altLang="ja-JP" sz="1600" b="1" i="0" u="none" strike="noStrike" kern="1200" cap="none" spc="0" normalizeH="0" baseline="0" noProof="0">
                  <a:ln>
                    <a:noFill/>
                  </a:ln>
                  <a:solidFill>
                    <a:srgbClr val="4A4A4A"/>
                  </a:solidFill>
                  <a:effectLst/>
                  <a:uLnTx/>
                  <a:uFillTx/>
                  <a:latin typeface="+mj-lt"/>
                  <a:ea typeface="Meiryo UI"/>
                </a:rPr>
                <a:t>Thor : Love and Thunder Reviews</a:t>
              </a:r>
              <a:endParaRPr kumimoji="1" lang="ja-JP" altLang="en-US" sz="1600" b="1" i="0" u="none" strike="noStrike" kern="1200" cap="none" spc="0" normalizeH="0" baseline="0" noProof="0">
                <a:ln>
                  <a:noFill/>
                </a:ln>
                <a:solidFill>
                  <a:srgbClr val="4A4A4A"/>
                </a:solidFill>
                <a:effectLst/>
                <a:uLnTx/>
                <a:uFillTx/>
                <a:latin typeface="+mj-lt"/>
                <a:ea typeface="Meiryo UI"/>
              </a:endParaRPr>
            </a:p>
          </p:txBody>
        </p:sp>
        <p:cxnSp>
          <p:nvCxnSpPr>
            <p:cNvPr id="21" name="直線コネクタ 4">
              <a:extLst>
                <a:ext uri="{FF2B5EF4-FFF2-40B4-BE49-F238E27FC236}">
                  <a16:creationId xmlns:a16="http://schemas.microsoft.com/office/drawing/2014/main" id="{B9F42C7A-9D64-99ED-E7B9-AB95769350EB}"/>
                </a:ext>
              </a:extLst>
            </p:cNvPr>
            <p:cNvCxnSpPr/>
            <p:nvPr/>
          </p:nvCxnSpPr>
          <p:spPr bwMode="auto">
            <a:xfrm>
              <a:off x="1016089" y="1782873"/>
              <a:ext cx="2016000" cy="0"/>
            </a:xfrm>
            <a:prstGeom prst="line">
              <a:avLst/>
            </a:prstGeom>
            <a:solidFill>
              <a:srgbClr val="FF6600"/>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5" name="Rectangle 24">
            <a:extLst>
              <a:ext uri="{FF2B5EF4-FFF2-40B4-BE49-F238E27FC236}">
                <a16:creationId xmlns:a16="http://schemas.microsoft.com/office/drawing/2014/main" id="{BF065E26-950F-9647-3D55-CB049E1EC090}"/>
              </a:ext>
            </a:extLst>
          </p:cNvPr>
          <p:cNvSpPr>
            <a:spLocks noChangeArrowheads="1"/>
          </p:cNvSpPr>
          <p:nvPr/>
        </p:nvSpPr>
        <p:spPr bwMode="auto">
          <a:xfrm>
            <a:off x="431856" y="682674"/>
            <a:ext cx="9239794" cy="31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6000" rIns="0" bIns="0" anchor="t"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a:spcBef>
                <a:spcPts val="0"/>
              </a:spcBef>
            </a:pPr>
            <a:r>
              <a:rPr lang="en-US" altLang="ja-JP" sz="1800">
                <a:solidFill>
                  <a:srgbClr val="212121"/>
                </a:solidFill>
                <a:latin typeface="Segoe UI" panose="020B0502040204020203" pitchFamily="34" charset="0"/>
                <a:ea typeface="+mn-ea"/>
                <a:cs typeface="Segoe UI" panose="020B0502040204020203" pitchFamily="34" charset="0"/>
              </a:rPr>
              <a:t>Factors contributing to the movie being criticized by the audience</a:t>
            </a:r>
            <a:endParaRPr lang="ja-JP" altLang="en-US" sz="1800">
              <a:solidFill>
                <a:srgbClr val="212121"/>
              </a:solidFill>
              <a:latin typeface="Segoe UI" panose="020B0502040204020203" pitchFamily="34" charset="0"/>
              <a:ea typeface="+mn-ea"/>
              <a:cs typeface="Segoe UI" panose="020B0502040204020203" pitchFamily="34" charset="0"/>
            </a:endParaRPr>
          </a:p>
        </p:txBody>
      </p:sp>
      <p:sp>
        <p:nvSpPr>
          <p:cNvPr id="30" name="Rectangle 29">
            <a:extLst>
              <a:ext uri="{FF2B5EF4-FFF2-40B4-BE49-F238E27FC236}">
                <a16:creationId xmlns:a16="http://schemas.microsoft.com/office/drawing/2014/main" id="{E967B7C0-D6B6-C62A-6BB0-38346A8C7B50}"/>
              </a:ext>
            </a:extLst>
          </p:cNvPr>
          <p:cNvSpPr/>
          <p:nvPr/>
        </p:nvSpPr>
        <p:spPr bwMode="auto">
          <a:xfrm>
            <a:off x="457199" y="1895451"/>
            <a:ext cx="4951826" cy="4878706"/>
          </a:xfrm>
          <a:prstGeom prst="rect">
            <a:avLst/>
          </a:prstGeom>
          <a:noFill/>
          <a:ln w="19050" cap="flat" cmpd="sng" algn="ctr">
            <a:solidFill>
              <a:schemeClr val="accent2">
                <a:lumMod val="75000"/>
              </a:schemeClr>
            </a:solidFill>
            <a:prstDash val="dash"/>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sp>
        <p:nvSpPr>
          <p:cNvPr id="31" name="Rectangle 2">
            <a:extLst>
              <a:ext uri="{FF2B5EF4-FFF2-40B4-BE49-F238E27FC236}">
                <a16:creationId xmlns:a16="http://schemas.microsoft.com/office/drawing/2014/main" id="{9B9B9E4D-570A-67DE-5508-8D7A2B4C6C89}"/>
              </a:ext>
            </a:extLst>
          </p:cNvPr>
          <p:cNvSpPr>
            <a:spLocks noChangeArrowheads="1"/>
          </p:cNvSpPr>
          <p:nvPr/>
        </p:nvSpPr>
        <p:spPr bwMode="auto">
          <a:xfrm>
            <a:off x="6094726" y="3428999"/>
            <a:ext cx="3379417" cy="1554807"/>
          </a:xfrm>
          <a:prstGeom prst="rect">
            <a:avLst/>
          </a:prstGeom>
          <a:solidFill>
            <a:srgbClr val="C00000"/>
          </a:solidFill>
          <a:ln w="9525">
            <a:noFill/>
            <a:miter lim="800000"/>
            <a:headEnd/>
            <a:tailEnd/>
          </a:ln>
          <a:effectLst/>
        </p:spPr>
        <p:txBody>
          <a:bodyPr wrap="square" lIns="72000" tIns="72000" rIns="72000" bIns="72000" anchor="ctr" anchorCtr="0">
            <a:no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a:spcBef>
                <a:spcPts val="0"/>
              </a:spcBef>
            </a:pPr>
            <a:r>
              <a:rPr lang="en-US" altLang="ja-JP" sz="1600" dirty="0">
                <a:solidFill>
                  <a:schemeClr val="bg1"/>
                </a:solidFill>
                <a:latin typeface="Segoe UI" panose="020B0502040204020203" pitchFamily="34" charset="0"/>
                <a:ea typeface="+mn-ea"/>
                <a:cs typeface="Segoe UI" panose="020B0502040204020203" pitchFamily="34" charset="0"/>
              </a:rPr>
              <a:t>Significant mentions of director </a:t>
            </a:r>
            <a:r>
              <a:rPr lang="en-US" altLang="ja-JP" sz="1600" dirty="0" err="1">
                <a:solidFill>
                  <a:schemeClr val="bg1"/>
                </a:solidFill>
                <a:latin typeface="Segoe UI" panose="020B0502040204020203" pitchFamily="34" charset="0"/>
                <a:ea typeface="+mn-ea"/>
                <a:cs typeface="Segoe UI" panose="020B0502040204020203" pitchFamily="34" charset="0"/>
              </a:rPr>
              <a:t>Taika</a:t>
            </a:r>
            <a:r>
              <a:rPr lang="en-US" altLang="ja-JP" dirty="0">
                <a:solidFill>
                  <a:schemeClr val="bg1"/>
                </a:solidFill>
                <a:latin typeface="Segoe UI" panose="020B0502040204020203" pitchFamily="34" charset="0"/>
                <a:ea typeface="+mn-ea"/>
                <a:cs typeface="Segoe UI" panose="020B0502040204020203" pitchFamily="34" charset="0"/>
              </a:rPr>
              <a:t>, movie </a:t>
            </a:r>
            <a:r>
              <a:rPr lang="en-US" altLang="ja-JP" sz="1600" dirty="0">
                <a:solidFill>
                  <a:schemeClr val="bg1"/>
                </a:solidFill>
                <a:latin typeface="Segoe UI" panose="020B0502040204020203" pitchFamily="34" charset="0"/>
                <a:ea typeface="+mn-ea"/>
                <a:cs typeface="Segoe UI" panose="020B0502040204020203" pitchFamily="34" charset="0"/>
              </a:rPr>
              <a:t>humor and story in the negative reviews of the first movie </a:t>
            </a:r>
            <a:endParaRPr lang="ja-JP" altLang="en-US" sz="1600" dirty="0">
              <a:solidFill>
                <a:schemeClr val="bg1"/>
              </a:solidFill>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6310719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1E841-9AA8-A602-3C1F-8883E0C0C0E6}"/>
              </a:ext>
            </a:extLst>
          </p:cNvPr>
          <p:cNvSpPr>
            <a:spLocks noGrp="1"/>
          </p:cNvSpPr>
          <p:nvPr>
            <p:ph type="title"/>
          </p:nvPr>
        </p:nvSpPr>
        <p:spPr/>
        <p:txBody>
          <a:bodyPr/>
          <a:lstStyle/>
          <a:p>
            <a:r>
              <a:rPr lang="en-GB"/>
              <a:t>Case Study (4/4)</a:t>
            </a:r>
            <a:endParaRPr kumimoji="1" lang="en-GB"/>
          </a:p>
        </p:txBody>
      </p:sp>
      <p:pic>
        <p:nvPicPr>
          <p:cNvPr id="4" name="Picture 3" descr="A person in a suit&#10;&#10;Description automatically generated">
            <a:extLst>
              <a:ext uri="{FF2B5EF4-FFF2-40B4-BE49-F238E27FC236}">
                <a16:creationId xmlns:a16="http://schemas.microsoft.com/office/drawing/2014/main" id="{EF58319D-CE46-DB7E-118E-5FD4E4A18C83}"/>
              </a:ext>
            </a:extLst>
          </p:cNvPr>
          <p:cNvPicPr>
            <a:picLocks noChangeAspect="1"/>
          </p:cNvPicPr>
          <p:nvPr/>
        </p:nvPicPr>
        <p:blipFill rotWithShape="1">
          <a:blip r:embed="rId2"/>
          <a:srcRect t="9894" r="-143" b="32454"/>
          <a:stretch/>
        </p:blipFill>
        <p:spPr>
          <a:xfrm>
            <a:off x="3138354" y="1468184"/>
            <a:ext cx="3891100" cy="4849344"/>
          </a:xfrm>
          <a:prstGeom prst="rect">
            <a:avLst/>
          </a:prstGeom>
        </p:spPr>
      </p:pic>
      <p:sp>
        <p:nvSpPr>
          <p:cNvPr id="3" name="Rectangle 2">
            <a:extLst>
              <a:ext uri="{FF2B5EF4-FFF2-40B4-BE49-F238E27FC236}">
                <a16:creationId xmlns:a16="http://schemas.microsoft.com/office/drawing/2014/main" id="{D87C5D98-C69C-B58C-F333-446A4914582E}"/>
              </a:ext>
            </a:extLst>
          </p:cNvPr>
          <p:cNvSpPr>
            <a:spLocks noChangeArrowheads="1"/>
          </p:cNvSpPr>
          <p:nvPr/>
        </p:nvSpPr>
        <p:spPr bwMode="auto">
          <a:xfrm>
            <a:off x="452636" y="682674"/>
            <a:ext cx="9239794" cy="590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6000" rIns="0" bIns="0" anchor="t"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a:spcBef>
                <a:spcPts val="0"/>
              </a:spcBef>
            </a:pPr>
            <a:r>
              <a:rPr lang="en-US" altLang="ja-JP" sz="1800">
                <a:solidFill>
                  <a:srgbClr val="212121"/>
                </a:solidFill>
                <a:latin typeface="Segoe UI" panose="020B0502040204020203" pitchFamily="34" charset="0"/>
                <a:ea typeface="+mn-ea"/>
                <a:cs typeface="Segoe UI" panose="020B0502040204020203" pitchFamily="34" charset="0"/>
              </a:rPr>
              <a:t>Failure of sequel along with negative reviews of movies potentially </a:t>
            </a:r>
            <a:r>
              <a:rPr lang="en-US" altLang="ja-JP" sz="1800" dirty="0">
                <a:solidFill>
                  <a:srgbClr val="212121"/>
                </a:solidFill>
                <a:latin typeface="Segoe UI" panose="020B0502040204020203" pitchFamily="34" charset="0"/>
                <a:ea typeface="+mn-ea"/>
                <a:cs typeface="Segoe UI" panose="020B0502040204020203" pitchFamily="34" charset="0"/>
              </a:rPr>
              <a:t>le</a:t>
            </a:r>
            <a:r>
              <a:rPr lang="en-CA" altLang="ja-JP" sz="1800">
                <a:solidFill>
                  <a:srgbClr val="212121"/>
                </a:solidFill>
                <a:latin typeface="Segoe UI" panose="020B0502040204020203" pitchFamily="34" charset="0"/>
                <a:ea typeface="+mn-ea"/>
                <a:cs typeface="Segoe UI" panose="020B0502040204020203" pitchFamily="34" charset="0"/>
              </a:rPr>
              <a:t>d to</a:t>
            </a:r>
            <a:r>
              <a:rPr lang="en-US" altLang="ja-JP" sz="1800">
                <a:solidFill>
                  <a:srgbClr val="212121"/>
                </a:solidFill>
                <a:latin typeface="Segoe UI" panose="020B0502040204020203" pitchFamily="34" charset="0"/>
                <a:ea typeface="+mn-ea"/>
                <a:cs typeface="Segoe UI" panose="020B0502040204020203" pitchFamily="34" charset="0"/>
              </a:rPr>
              <a:t> Director </a:t>
            </a:r>
            <a:r>
              <a:rPr lang="en-US" altLang="ja-JP" sz="1800" dirty="0" err="1">
                <a:solidFill>
                  <a:srgbClr val="212121"/>
                </a:solidFill>
                <a:latin typeface="Segoe UI" panose="020B0502040204020203" pitchFamily="34" charset="0"/>
                <a:ea typeface="+mn-ea"/>
                <a:cs typeface="Segoe UI" panose="020B0502040204020203" pitchFamily="34" charset="0"/>
              </a:rPr>
              <a:t>Taika</a:t>
            </a:r>
            <a:r>
              <a:rPr lang="en-US" altLang="ja-JP" sz="1800">
                <a:solidFill>
                  <a:srgbClr val="212121"/>
                </a:solidFill>
                <a:latin typeface="Segoe UI" panose="020B0502040204020203" pitchFamily="34" charset="0"/>
                <a:ea typeface="+mn-ea"/>
                <a:cs typeface="Segoe UI" panose="020B0502040204020203" pitchFamily="34" charset="0"/>
              </a:rPr>
              <a:t> </a:t>
            </a:r>
            <a:r>
              <a:rPr lang="en-US" altLang="ja-JP" sz="1800" dirty="0" err="1">
                <a:solidFill>
                  <a:srgbClr val="212121"/>
                </a:solidFill>
                <a:latin typeface="Segoe UI" panose="020B0502040204020203" pitchFamily="34" charset="0"/>
                <a:ea typeface="+mn-ea"/>
                <a:cs typeface="Segoe UI" panose="020B0502040204020203" pitchFamily="34" charset="0"/>
              </a:rPr>
              <a:t>Waititi’s</a:t>
            </a:r>
            <a:r>
              <a:rPr lang="en-US" altLang="ja-JP" sz="1800">
                <a:solidFill>
                  <a:srgbClr val="212121"/>
                </a:solidFill>
                <a:latin typeface="Segoe UI" panose="020B0502040204020203" pitchFamily="34" charset="0"/>
                <a:ea typeface="+mn-ea"/>
                <a:cs typeface="Segoe UI" panose="020B0502040204020203" pitchFamily="34" charset="0"/>
              </a:rPr>
              <a:t> subsequent departure from the Thor franchise </a:t>
            </a:r>
            <a:endParaRPr lang="ja-JP" altLang="en-US" sz="1800">
              <a:solidFill>
                <a:srgbClr val="212121"/>
              </a:solidFill>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6992521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D9482C-9809-78C2-DBBB-630F5596988E}"/>
              </a:ext>
            </a:extLst>
          </p:cNvPr>
          <p:cNvSpPr>
            <a:spLocks noGrp="1"/>
          </p:cNvSpPr>
          <p:nvPr>
            <p:ph type="title"/>
          </p:nvPr>
        </p:nvSpPr>
        <p:spPr/>
        <p:txBody>
          <a:bodyPr/>
          <a:lstStyle/>
          <a:p>
            <a:r>
              <a:rPr lang="en-US"/>
              <a:t>Mass Media &amp; Entertainment Domain (1/2)</a:t>
            </a:r>
          </a:p>
        </p:txBody>
      </p:sp>
      <p:sp>
        <p:nvSpPr>
          <p:cNvPr id="3" name="Rectangle 2">
            <a:extLst>
              <a:ext uri="{FF2B5EF4-FFF2-40B4-BE49-F238E27FC236}">
                <a16:creationId xmlns:a16="http://schemas.microsoft.com/office/drawing/2014/main" id="{B86EE26B-A320-1117-C533-672582AFE7DA}"/>
              </a:ext>
            </a:extLst>
          </p:cNvPr>
          <p:cNvSpPr>
            <a:spLocks noChangeArrowheads="1"/>
          </p:cNvSpPr>
          <p:nvPr/>
        </p:nvSpPr>
        <p:spPr bwMode="auto">
          <a:xfrm>
            <a:off x="431856" y="682674"/>
            <a:ext cx="9239794" cy="31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6000" rIns="0" bIns="0" anchor="t"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a:spcBef>
                <a:spcPts val="0"/>
              </a:spcBef>
            </a:pPr>
            <a:r>
              <a:rPr lang="en-US" altLang="ja-JP" sz="1800">
                <a:solidFill>
                  <a:srgbClr val="212121"/>
                </a:solidFill>
                <a:latin typeface="Segoe UI" panose="020B0502040204020203" pitchFamily="34" charset="0"/>
                <a:ea typeface="+mn-ea"/>
                <a:cs typeface="Segoe UI" panose="020B0502040204020203" pitchFamily="34" charset="0"/>
              </a:rPr>
              <a:t>Producers, a potential customer for the movie review sentiment analyzer</a:t>
            </a:r>
            <a:endParaRPr lang="ja-JP" altLang="en-US" sz="1800">
              <a:solidFill>
                <a:srgbClr val="212121"/>
              </a:solidFill>
              <a:latin typeface="Segoe UI" panose="020B0502040204020203" pitchFamily="34" charset="0"/>
              <a:ea typeface="+mn-ea"/>
              <a:cs typeface="Segoe UI" panose="020B0502040204020203" pitchFamily="34" charset="0"/>
            </a:endParaRPr>
          </a:p>
        </p:txBody>
      </p:sp>
      <p:grpSp>
        <p:nvGrpSpPr>
          <p:cNvPr id="64" name="グループ化 3">
            <a:extLst>
              <a:ext uri="{FF2B5EF4-FFF2-40B4-BE49-F238E27FC236}">
                <a16:creationId xmlns:a16="http://schemas.microsoft.com/office/drawing/2014/main" id="{94A6FC51-2A6A-C64C-F560-E7EF57104345}"/>
              </a:ext>
            </a:extLst>
          </p:cNvPr>
          <p:cNvGrpSpPr/>
          <p:nvPr/>
        </p:nvGrpSpPr>
        <p:grpSpPr>
          <a:xfrm>
            <a:off x="209867" y="1304685"/>
            <a:ext cx="5103122" cy="318924"/>
            <a:chOff x="1016089" y="1458279"/>
            <a:chExt cx="2016000" cy="324598"/>
          </a:xfrm>
        </p:grpSpPr>
        <p:sp>
          <p:nvSpPr>
            <p:cNvPr id="65" name="Rectangle 2">
              <a:extLst>
                <a:ext uri="{FF2B5EF4-FFF2-40B4-BE49-F238E27FC236}">
                  <a16:creationId xmlns:a16="http://schemas.microsoft.com/office/drawing/2014/main" id="{19FB53DD-2BE0-784B-C9F2-ABD840A0A42C}"/>
                </a:ext>
              </a:extLst>
            </p:cNvPr>
            <p:cNvSpPr>
              <a:spLocks noChangeArrowheads="1"/>
            </p:cNvSpPr>
            <p:nvPr/>
          </p:nvSpPr>
          <p:spPr bwMode="auto">
            <a:xfrm>
              <a:off x="1705886" y="1458279"/>
              <a:ext cx="636419" cy="324598"/>
            </a:xfrm>
            <a:prstGeom prst="rect">
              <a:avLst/>
            </a:prstGeom>
            <a:noFill/>
            <a:ln w="9525">
              <a:noFill/>
              <a:miter lim="800000"/>
              <a:headEnd/>
              <a:tailEnd/>
            </a:ln>
            <a:effectLst/>
          </p:spPr>
          <p:txBody>
            <a:bodyPr wrap="none" lIns="36000" tIns="36000" rIns="36000" bIns="36000" anchor="b"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1600" b="1" i="0" u="none" strike="noStrike" kern="1200" cap="none" spc="0" normalizeH="0" baseline="0" noProof="0">
                  <a:ln>
                    <a:noFill/>
                  </a:ln>
                  <a:solidFill>
                    <a:srgbClr val="4A4A4A"/>
                  </a:solidFill>
                  <a:effectLst/>
                  <a:uLnTx/>
                  <a:uFillTx/>
                  <a:latin typeface="+mj-lt"/>
                  <a:ea typeface="Meiryo UI"/>
                </a:rPr>
                <a:t>Business Model</a:t>
              </a:r>
              <a:endParaRPr kumimoji="1" lang="ja-JP" altLang="en-US" sz="1600" b="1" i="0" u="none" strike="noStrike" kern="1200" cap="none" spc="0" normalizeH="0" baseline="0" noProof="0">
                <a:ln>
                  <a:noFill/>
                </a:ln>
                <a:solidFill>
                  <a:srgbClr val="4A4A4A"/>
                </a:solidFill>
                <a:effectLst/>
                <a:uLnTx/>
                <a:uFillTx/>
                <a:latin typeface="+mj-lt"/>
                <a:ea typeface="Meiryo UI"/>
              </a:endParaRPr>
            </a:p>
          </p:txBody>
        </p:sp>
        <p:cxnSp>
          <p:nvCxnSpPr>
            <p:cNvPr id="66" name="直線コネクタ 4">
              <a:extLst>
                <a:ext uri="{FF2B5EF4-FFF2-40B4-BE49-F238E27FC236}">
                  <a16:creationId xmlns:a16="http://schemas.microsoft.com/office/drawing/2014/main" id="{94743F69-DEC8-4422-7B57-C74BB4DF2807}"/>
                </a:ext>
              </a:extLst>
            </p:cNvPr>
            <p:cNvCxnSpPr/>
            <p:nvPr/>
          </p:nvCxnSpPr>
          <p:spPr bwMode="auto">
            <a:xfrm>
              <a:off x="1016089" y="1782873"/>
              <a:ext cx="2016000" cy="0"/>
            </a:xfrm>
            <a:prstGeom prst="line">
              <a:avLst/>
            </a:prstGeom>
            <a:solidFill>
              <a:srgbClr val="FF6600"/>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67" name="グループ化 3">
            <a:extLst>
              <a:ext uri="{FF2B5EF4-FFF2-40B4-BE49-F238E27FC236}">
                <a16:creationId xmlns:a16="http://schemas.microsoft.com/office/drawing/2014/main" id="{4E32D611-33D6-3F43-CD96-33E3B70382CE}"/>
              </a:ext>
            </a:extLst>
          </p:cNvPr>
          <p:cNvGrpSpPr/>
          <p:nvPr/>
        </p:nvGrpSpPr>
        <p:grpSpPr>
          <a:xfrm>
            <a:off x="5662671" y="1317788"/>
            <a:ext cx="4056285" cy="299820"/>
            <a:chOff x="1016089" y="1463948"/>
            <a:chExt cx="2016000" cy="318925"/>
          </a:xfrm>
        </p:grpSpPr>
        <p:sp>
          <p:nvSpPr>
            <p:cNvPr id="68" name="Rectangle 2">
              <a:extLst>
                <a:ext uri="{FF2B5EF4-FFF2-40B4-BE49-F238E27FC236}">
                  <a16:creationId xmlns:a16="http://schemas.microsoft.com/office/drawing/2014/main" id="{38E2F3B4-794A-839E-7C5C-817CAA46D817}"/>
                </a:ext>
              </a:extLst>
            </p:cNvPr>
            <p:cNvSpPr>
              <a:spLocks noChangeArrowheads="1"/>
            </p:cNvSpPr>
            <p:nvPr/>
          </p:nvSpPr>
          <p:spPr bwMode="auto">
            <a:xfrm>
              <a:off x="1848398" y="1463948"/>
              <a:ext cx="351395" cy="318924"/>
            </a:xfrm>
            <a:prstGeom prst="rect">
              <a:avLst/>
            </a:prstGeom>
            <a:noFill/>
            <a:ln w="9525">
              <a:noFill/>
              <a:miter lim="800000"/>
              <a:headEnd/>
              <a:tailEnd/>
            </a:ln>
            <a:effectLst/>
          </p:spPr>
          <p:txBody>
            <a:bodyPr wrap="none" lIns="36000" tIns="36000" rIns="36000" bIns="36000" anchor="b"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1600" b="1" i="0" u="none" strike="noStrike" kern="1200" cap="none" spc="0" normalizeH="0" baseline="0" noProof="0">
                  <a:ln>
                    <a:noFill/>
                  </a:ln>
                  <a:solidFill>
                    <a:srgbClr val="4A4A4A"/>
                  </a:solidFill>
                  <a:effectLst/>
                  <a:uLnTx/>
                  <a:uFillTx/>
                  <a:latin typeface="+mj-lt"/>
                  <a:ea typeface="Meiryo UI"/>
                </a:rPr>
                <a:t>Details</a:t>
              </a:r>
              <a:endParaRPr kumimoji="1" lang="ja-JP" altLang="en-US" sz="1600" b="1" i="0" u="none" strike="noStrike" kern="1200" cap="none" spc="0" normalizeH="0" baseline="0" noProof="0">
                <a:ln>
                  <a:noFill/>
                </a:ln>
                <a:solidFill>
                  <a:srgbClr val="4A4A4A"/>
                </a:solidFill>
                <a:effectLst/>
                <a:uLnTx/>
                <a:uFillTx/>
                <a:latin typeface="+mj-lt"/>
                <a:ea typeface="Meiryo UI"/>
              </a:endParaRPr>
            </a:p>
          </p:txBody>
        </p:sp>
        <p:cxnSp>
          <p:nvCxnSpPr>
            <p:cNvPr id="69" name="直線コネクタ 4">
              <a:extLst>
                <a:ext uri="{FF2B5EF4-FFF2-40B4-BE49-F238E27FC236}">
                  <a16:creationId xmlns:a16="http://schemas.microsoft.com/office/drawing/2014/main" id="{C50DC758-8E57-DFFB-E8C3-1AC71CF76ADD}"/>
                </a:ext>
              </a:extLst>
            </p:cNvPr>
            <p:cNvCxnSpPr/>
            <p:nvPr/>
          </p:nvCxnSpPr>
          <p:spPr bwMode="auto">
            <a:xfrm>
              <a:off x="1016089" y="1782873"/>
              <a:ext cx="2016000" cy="0"/>
            </a:xfrm>
            <a:prstGeom prst="line">
              <a:avLst/>
            </a:prstGeom>
            <a:solidFill>
              <a:srgbClr val="FF6600"/>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89" name="Group 188">
            <a:extLst>
              <a:ext uri="{FF2B5EF4-FFF2-40B4-BE49-F238E27FC236}">
                <a16:creationId xmlns:a16="http://schemas.microsoft.com/office/drawing/2014/main" id="{21E4AE07-19DF-13FB-C2CC-B69A16EFA3B0}"/>
              </a:ext>
            </a:extLst>
          </p:cNvPr>
          <p:cNvGrpSpPr/>
          <p:nvPr/>
        </p:nvGrpSpPr>
        <p:grpSpPr>
          <a:xfrm>
            <a:off x="243624" y="2137475"/>
            <a:ext cx="5052461" cy="4025436"/>
            <a:chOff x="196318" y="2149890"/>
            <a:chExt cx="5052461" cy="4025436"/>
          </a:xfrm>
        </p:grpSpPr>
        <p:sp>
          <p:nvSpPr>
            <p:cNvPr id="73" name="Rectangle 72">
              <a:extLst>
                <a:ext uri="{FF2B5EF4-FFF2-40B4-BE49-F238E27FC236}">
                  <a16:creationId xmlns:a16="http://schemas.microsoft.com/office/drawing/2014/main" id="{0B0CFEFC-3C64-163A-6E06-35182CF99097}"/>
                </a:ext>
              </a:extLst>
            </p:cNvPr>
            <p:cNvSpPr/>
            <p:nvPr/>
          </p:nvSpPr>
          <p:spPr bwMode="auto">
            <a:xfrm>
              <a:off x="1881328" y="2170340"/>
              <a:ext cx="1615361" cy="1789643"/>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91" name="Rectangle 90">
              <a:extLst>
                <a:ext uri="{FF2B5EF4-FFF2-40B4-BE49-F238E27FC236}">
                  <a16:creationId xmlns:a16="http://schemas.microsoft.com/office/drawing/2014/main" id="{82382FF4-2D98-61AF-23AD-8637E0328A91}"/>
                </a:ext>
              </a:extLst>
            </p:cNvPr>
            <p:cNvSpPr/>
            <p:nvPr/>
          </p:nvSpPr>
          <p:spPr bwMode="auto">
            <a:xfrm>
              <a:off x="2694874" y="3250636"/>
              <a:ext cx="747788" cy="618953"/>
            </a:xfrm>
            <a:prstGeom prst="rect">
              <a:avLst/>
            </a:prstGeom>
            <a:solidFill>
              <a:schemeClr val="bg1"/>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0" i="0" u="none" strike="noStrike" cap="none" normalizeH="0" baseline="0">
                <a:ln>
                  <a:noFill/>
                </a:ln>
                <a:solidFill>
                  <a:schemeClr val="tx2"/>
                </a:solidFill>
                <a:effectLst/>
                <a:latin typeface="+mn-lt"/>
                <a:ea typeface="+mn-ea"/>
              </a:endParaRPr>
            </a:p>
          </p:txBody>
        </p:sp>
        <p:sp>
          <p:nvSpPr>
            <p:cNvPr id="82" name="Rectangle 81">
              <a:extLst>
                <a:ext uri="{FF2B5EF4-FFF2-40B4-BE49-F238E27FC236}">
                  <a16:creationId xmlns:a16="http://schemas.microsoft.com/office/drawing/2014/main" id="{A3D82430-26B0-9A33-318E-E220A859D2CA}"/>
                </a:ext>
              </a:extLst>
            </p:cNvPr>
            <p:cNvSpPr/>
            <p:nvPr/>
          </p:nvSpPr>
          <p:spPr bwMode="auto">
            <a:xfrm>
              <a:off x="1931569" y="3250636"/>
              <a:ext cx="709558" cy="618953"/>
            </a:xfrm>
            <a:prstGeom prst="rect">
              <a:avLst/>
            </a:prstGeom>
            <a:solidFill>
              <a:schemeClr val="bg1"/>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0" i="0" u="none" strike="noStrike" cap="none" normalizeH="0" baseline="0">
                <a:ln>
                  <a:noFill/>
                </a:ln>
                <a:solidFill>
                  <a:schemeClr val="tx2"/>
                </a:solidFill>
                <a:effectLst/>
                <a:latin typeface="+mn-lt"/>
                <a:ea typeface="+mn-ea"/>
              </a:endParaRPr>
            </a:p>
          </p:txBody>
        </p:sp>
        <p:sp>
          <p:nvSpPr>
            <p:cNvPr id="83" name="TextBox 82">
              <a:extLst>
                <a:ext uri="{FF2B5EF4-FFF2-40B4-BE49-F238E27FC236}">
                  <a16:creationId xmlns:a16="http://schemas.microsoft.com/office/drawing/2014/main" id="{E69D2F4D-E174-6CE4-C159-2CC695BC965D}"/>
                </a:ext>
              </a:extLst>
            </p:cNvPr>
            <p:cNvSpPr txBox="1"/>
            <p:nvPr/>
          </p:nvSpPr>
          <p:spPr>
            <a:xfrm>
              <a:off x="1909837" y="3339630"/>
              <a:ext cx="747788" cy="374906"/>
            </a:xfrm>
            <a:prstGeom prst="rect">
              <a:avLst/>
            </a:prstGeom>
            <a:noFill/>
          </p:spPr>
          <p:txBody>
            <a:bodyPr wrap="square" lIns="36000" tIns="36000" rIns="36000" bIns="0" rtlCol="0">
              <a:spAutoFit/>
            </a:bodyPr>
            <a:lstStyle/>
            <a:p>
              <a:pPr algn="ctr"/>
              <a:r>
                <a:rPr lang="en-US" sz="1100">
                  <a:solidFill>
                    <a:schemeClr val="tx2"/>
                  </a:solidFill>
                  <a:latin typeface="+mn-lt"/>
                  <a:ea typeface="+mn-ea"/>
                </a:rPr>
                <a:t>*OTT Distributor</a:t>
              </a:r>
              <a:endParaRPr kumimoji="1" lang="en-US" sz="1100">
                <a:solidFill>
                  <a:schemeClr val="tx2"/>
                </a:solidFill>
                <a:latin typeface="+mn-lt"/>
                <a:ea typeface="+mn-ea"/>
              </a:endParaRPr>
            </a:p>
          </p:txBody>
        </p:sp>
        <p:sp>
          <p:nvSpPr>
            <p:cNvPr id="87" name="TextBox 86">
              <a:extLst>
                <a:ext uri="{FF2B5EF4-FFF2-40B4-BE49-F238E27FC236}">
                  <a16:creationId xmlns:a16="http://schemas.microsoft.com/office/drawing/2014/main" id="{9CE86D58-3AB2-14A4-3D70-36B4FFFB06A7}"/>
                </a:ext>
              </a:extLst>
            </p:cNvPr>
            <p:cNvSpPr txBox="1"/>
            <p:nvPr/>
          </p:nvSpPr>
          <p:spPr>
            <a:xfrm>
              <a:off x="2676819" y="3339629"/>
              <a:ext cx="747787" cy="374906"/>
            </a:xfrm>
            <a:prstGeom prst="rect">
              <a:avLst/>
            </a:prstGeom>
            <a:noFill/>
          </p:spPr>
          <p:txBody>
            <a:bodyPr wrap="square" lIns="36000" tIns="36000" rIns="36000" bIns="0" rtlCol="0">
              <a:spAutoFit/>
            </a:bodyPr>
            <a:lstStyle/>
            <a:p>
              <a:pPr algn="ctr"/>
              <a:r>
                <a:rPr lang="en-US" sz="1100">
                  <a:solidFill>
                    <a:schemeClr val="tx2"/>
                  </a:solidFill>
                  <a:latin typeface="+mn-lt"/>
                  <a:ea typeface="+mn-ea"/>
                </a:rPr>
                <a:t>Theatrical Distributor</a:t>
              </a:r>
              <a:endParaRPr kumimoji="1" lang="en-US" sz="1100">
                <a:latin typeface="+mn-lt"/>
                <a:ea typeface="+mn-ea"/>
              </a:endParaRPr>
            </a:p>
          </p:txBody>
        </p:sp>
        <p:cxnSp>
          <p:nvCxnSpPr>
            <p:cNvPr id="9" name="Straight Arrow Connector 8">
              <a:extLst>
                <a:ext uri="{FF2B5EF4-FFF2-40B4-BE49-F238E27FC236}">
                  <a16:creationId xmlns:a16="http://schemas.microsoft.com/office/drawing/2014/main" id="{0BCFCE62-4CD6-B52E-1F5F-1BCD157AAE9D}"/>
                </a:ext>
              </a:extLst>
            </p:cNvPr>
            <p:cNvCxnSpPr/>
            <p:nvPr/>
          </p:nvCxnSpPr>
          <p:spPr bwMode="auto">
            <a:xfrm>
              <a:off x="1311048" y="3388397"/>
              <a:ext cx="552910" cy="0"/>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2" name="Rectangle 71">
              <a:extLst>
                <a:ext uri="{FF2B5EF4-FFF2-40B4-BE49-F238E27FC236}">
                  <a16:creationId xmlns:a16="http://schemas.microsoft.com/office/drawing/2014/main" id="{C5A03A19-CCC4-1619-1E8F-7BFA37864BC2}"/>
                </a:ext>
              </a:extLst>
            </p:cNvPr>
            <p:cNvSpPr/>
            <p:nvPr/>
          </p:nvSpPr>
          <p:spPr bwMode="auto">
            <a:xfrm>
              <a:off x="2646577" y="5010354"/>
              <a:ext cx="1217061" cy="507610"/>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75" name="TextBox 74">
              <a:extLst>
                <a:ext uri="{FF2B5EF4-FFF2-40B4-BE49-F238E27FC236}">
                  <a16:creationId xmlns:a16="http://schemas.microsoft.com/office/drawing/2014/main" id="{EDE135B7-BE7D-C471-8D4B-C552FBE8878B}"/>
                </a:ext>
              </a:extLst>
            </p:cNvPr>
            <p:cNvSpPr txBox="1"/>
            <p:nvPr/>
          </p:nvSpPr>
          <p:spPr>
            <a:xfrm>
              <a:off x="1914455" y="2149890"/>
              <a:ext cx="1497370" cy="251795"/>
            </a:xfrm>
            <a:prstGeom prst="rect">
              <a:avLst/>
            </a:prstGeom>
            <a:noFill/>
          </p:spPr>
          <p:txBody>
            <a:bodyPr wrap="square" lIns="36000" tIns="36000" rIns="36000" bIns="0" rtlCol="0">
              <a:spAutoFit/>
            </a:bodyPr>
            <a:lstStyle/>
            <a:p>
              <a:pPr algn="ctr"/>
              <a:r>
                <a:rPr lang="en-US" sz="1400" b="1">
                  <a:latin typeface="+mn-lt"/>
                  <a:ea typeface="+mn-ea"/>
                </a:rPr>
                <a:t>Distributor</a:t>
              </a:r>
              <a:endParaRPr kumimoji="1" lang="en-US" sz="1400" b="1">
                <a:latin typeface="+mn-lt"/>
                <a:ea typeface="+mn-ea"/>
              </a:endParaRPr>
            </a:p>
          </p:txBody>
        </p:sp>
        <p:cxnSp>
          <p:nvCxnSpPr>
            <p:cNvPr id="79" name="Straight Arrow Connector 78">
              <a:extLst>
                <a:ext uri="{FF2B5EF4-FFF2-40B4-BE49-F238E27FC236}">
                  <a16:creationId xmlns:a16="http://schemas.microsoft.com/office/drawing/2014/main" id="{07CA3999-76A8-293F-4A35-705987BB9150}"/>
                </a:ext>
              </a:extLst>
            </p:cNvPr>
            <p:cNvCxnSpPr/>
            <p:nvPr/>
          </p:nvCxnSpPr>
          <p:spPr bwMode="auto">
            <a:xfrm flipH="1">
              <a:off x="1304952" y="3620801"/>
              <a:ext cx="552910" cy="0"/>
            </a:xfrm>
            <a:prstGeom prst="straightConnector1">
              <a:avLst/>
            </a:prstGeom>
            <a:solidFill>
              <a:srgbClr val="FF6600"/>
            </a:solidFill>
            <a:ln w="19050" cap="flat" cmpd="sng" algn="ctr">
              <a:solidFill>
                <a:srgbClr val="33CC33"/>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8" name="Group 87">
              <a:extLst>
                <a:ext uri="{FF2B5EF4-FFF2-40B4-BE49-F238E27FC236}">
                  <a16:creationId xmlns:a16="http://schemas.microsoft.com/office/drawing/2014/main" id="{DC08EE69-E367-0C46-DF10-C36B54A04099}"/>
                </a:ext>
              </a:extLst>
            </p:cNvPr>
            <p:cNvGrpSpPr/>
            <p:nvPr/>
          </p:nvGrpSpPr>
          <p:grpSpPr>
            <a:xfrm>
              <a:off x="4146368" y="2249689"/>
              <a:ext cx="1102411" cy="1609508"/>
              <a:chOff x="4123659" y="2286447"/>
              <a:chExt cx="1102411" cy="1249666"/>
            </a:xfrm>
          </p:grpSpPr>
          <p:sp>
            <p:nvSpPr>
              <p:cNvPr id="81" name="Rectangle 80">
                <a:extLst>
                  <a:ext uri="{FF2B5EF4-FFF2-40B4-BE49-F238E27FC236}">
                    <a16:creationId xmlns:a16="http://schemas.microsoft.com/office/drawing/2014/main" id="{22276677-B73D-A8E3-7DC8-729041EF94B9}"/>
                  </a:ext>
                </a:extLst>
              </p:cNvPr>
              <p:cNvSpPr/>
              <p:nvPr/>
            </p:nvSpPr>
            <p:spPr bwMode="auto">
              <a:xfrm>
                <a:off x="4123659" y="2303633"/>
                <a:ext cx="1102411" cy="1232480"/>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76" name="TextBox 75">
                <a:extLst>
                  <a:ext uri="{FF2B5EF4-FFF2-40B4-BE49-F238E27FC236}">
                    <a16:creationId xmlns:a16="http://schemas.microsoft.com/office/drawing/2014/main" id="{AD95EA41-F21D-88C3-4FEC-A3E90B1A483D}"/>
                  </a:ext>
                </a:extLst>
              </p:cNvPr>
              <p:cNvSpPr txBox="1"/>
              <p:nvPr/>
            </p:nvSpPr>
            <p:spPr>
              <a:xfrm>
                <a:off x="4184819" y="2286447"/>
                <a:ext cx="1018876" cy="195500"/>
              </a:xfrm>
              <a:prstGeom prst="rect">
                <a:avLst/>
              </a:prstGeom>
              <a:noFill/>
            </p:spPr>
            <p:txBody>
              <a:bodyPr wrap="square" lIns="36000" tIns="36000" rIns="36000" bIns="0" rtlCol="0">
                <a:spAutoFit/>
              </a:bodyPr>
              <a:lstStyle/>
              <a:p>
                <a:pPr algn="ctr"/>
                <a:r>
                  <a:rPr lang="en-US" sz="1400" b="1">
                    <a:latin typeface="+mn-lt"/>
                    <a:ea typeface="+mn-ea"/>
                  </a:rPr>
                  <a:t>Cinema</a:t>
                </a:r>
                <a:endParaRPr kumimoji="1" lang="en-US" sz="1400" b="1">
                  <a:latin typeface="+mn-lt"/>
                  <a:ea typeface="+mn-ea"/>
                </a:endParaRPr>
              </a:p>
            </p:txBody>
          </p:sp>
          <p:sp>
            <p:nvSpPr>
              <p:cNvPr id="178" name="TextBox 177">
                <a:extLst>
                  <a:ext uri="{FF2B5EF4-FFF2-40B4-BE49-F238E27FC236}">
                    <a16:creationId xmlns:a16="http://schemas.microsoft.com/office/drawing/2014/main" id="{80D6E062-C375-271D-1578-0EBC9A65C60D}"/>
                  </a:ext>
                </a:extLst>
              </p:cNvPr>
              <p:cNvSpPr txBox="1"/>
              <p:nvPr/>
            </p:nvSpPr>
            <p:spPr>
              <a:xfrm>
                <a:off x="4184819" y="2450419"/>
                <a:ext cx="1018876" cy="1079675"/>
              </a:xfrm>
              <a:prstGeom prst="rect">
                <a:avLst/>
              </a:prstGeom>
              <a:noFill/>
            </p:spPr>
            <p:txBody>
              <a:bodyPr wrap="square" lIns="36000" tIns="36000" rIns="36000" bIns="0" rtlCol="0">
                <a:spAutoFit/>
              </a:bodyPr>
              <a:lstStyle/>
              <a:p>
                <a:r>
                  <a:rPr kumimoji="1" lang="en-US" sz="1100">
                    <a:latin typeface="+mn-lt"/>
                    <a:ea typeface="+mn-ea"/>
                  </a:rPr>
                  <a:t>Key Resource: Cinema Theatre</a:t>
                </a:r>
              </a:p>
              <a:p>
                <a:r>
                  <a:rPr kumimoji="1" lang="en-US" sz="1100">
                    <a:latin typeface="+mn-lt"/>
                    <a:ea typeface="+mn-ea"/>
                  </a:rPr>
                  <a:t> </a:t>
                </a:r>
              </a:p>
              <a:p>
                <a:r>
                  <a:rPr lang="en-US" sz="1100">
                    <a:latin typeface="+mn-lt"/>
                    <a:ea typeface="+mn-ea"/>
                  </a:rPr>
                  <a:t>Cost: Distributor’s share of Ticket sales</a:t>
                </a:r>
                <a:endParaRPr kumimoji="1" lang="en-US" sz="1100">
                  <a:latin typeface="+mn-lt"/>
                  <a:ea typeface="+mn-ea"/>
                </a:endParaRPr>
              </a:p>
            </p:txBody>
          </p:sp>
        </p:grpSp>
        <p:sp>
          <p:nvSpPr>
            <p:cNvPr id="77" name="TextBox 76">
              <a:extLst>
                <a:ext uri="{FF2B5EF4-FFF2-40B4-BE49-F238E27FC236}">
                  <a16:creationId xmlns:a16="http://schemas.microsoft.com/office/drawing/2014/main" id="{8D17EDA9-1791-E364-7E75-1AB06709E60E}"/>
                </a:ext>
              </a:extLst>
            </p:cNvPr>
            <p:cNvSpPr txBox="1"/>
            <p:nvPr/>
          </p:nvSpPr>
          <p:spPr>
            <a:xfrm>
              <a:off x="2844761" y="5126831"/>
              <a:ext cx="1018876" cy="251795"/>
            </a:xfrm>
            <a:prstGeom prst="rect">
              <a:avLst/>
            </a:prstGeom>
            <a:noFill/>
          </p:spPr>
          <p:txBody>
            <a:bodyPr wrap="square" lIns="36000" tIns="36000" rIns="36000" bIns="0" rtlCol="0">
              <a:spAutoFit/>
            </a:bodyPr>
            <a:lstStyle/>
            <a:p>
              <a:r>
                <a:rPr lang="en-US" sz="1400" b="1">
                  <a:latin typeface="+mn-lt"/>
                  <a:ea typeface="+mn-ea"/>
                </a:rPr>
                <a:t>Audience</a:t>
              </a:r>
              <a:endParaRPr kumimoji="1" lang="en-US" sz="1100">
                <a:latin typeface="+mn-lt"/>
                <a:ea typeface="+mn-ea"/>
              </a:endParaRPr>
            </a:p>
          </p:txBody>
        </p:sp>
        <p:cxnSp>
          <p:nvCxnSpPr>
            <p:cNvPr id="96" name="Connector: Elbow 95">
              <a:extLst>
                <a:ext uri="{FF2B5EF4-FFF2-40B4-BE49-F238E27FC236}">
                  <a16:creationId xmlns:a16="http://schemas.microsoft.com/office/drawing/2014/main" id="{BC4817FE-527C-1E11-DD37-AA896560A66E}"/>
                </a:ext>
              </a:extLst>
            </p:cNvPr>
            <p:cNvCxnSpPr>
              <a:cxnSpLocks/>
            </p:cNvCxnSpPr>
            <p:nvPr/>
          </p:nvCxnSpPr>
          <p:spPr bwMode="auto">
            <a:xfrm rot="5400000">
              <a:off x="3597626" y="4125216"/>
              <a:ext cx="1530626" cy="998601"/>
            </a:xfrm>
            <a:prstGeom prst="bentConnector3">
              <a:avLst>
                <a:gd name="adj1" fmla="val 100033"/>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9" name="Connector: Elbow 98">
              <a:extLst>
                <a:ext uri="{FF2B5EF4-FFF2-40B4-BE49-F238E27FC236}">
                  <a16:creationId xmlns:a16="http://schemas.microsoft.com/office/drawing/2014/main" id="{AEFE3441-2E99-F5EB-CED5-AC6CD0DEB805}"/>
                </a:ext>
              </a:extLst>
            </p:cNvPr>
            <p:cNvCxnSpPr/>
            <p:nvPr/>
          </p:nvCxnSpPr>
          <p:spPr bwMode="auto">
            <a:xfrm rot="5400000" flipH="1" flipV="1">
              <a:off x="3581638" y="4155128"/>
              <a:ext cx="1295281" cy="703428"/>
            </a:xfrm>
            <a:prstGeom prst="bentConnector3">
              <a:avLst>
                <a:gd name="adj1" fmla="val 113"/>
              </a:avLst>
            </a:prstGeom>
            <a:solidFill>
              <a:srgbClr val="FF6600"/>
            </a:solidFill>
            <a:ln w="19050" cap="flat" cmpd="sng" algn="ctr">
              <a:solidFill>
                <a:srgbClr val="33CC33"/>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Connector: Elbow 114">
              <a:extLst>
                <a:ext uri="{FF2B5EF4-FFF2-40B4-BE49-F238E27FC236}">
                  <a16:creationId xmlns:a16="http://schemas.microsoft.com/office/drawing/2014/main" id="{EE6272F7-FF09-7412-45AA-432F4B44B119}"/>
                </a:ext>
              </a:extLst>
            </p:cNvPr>
            <p:cNvCxnSpPr/>
            <p:nvPr/>
          </p:nvCxnSpPr>
          <p:spPr bwMode="auto">
            <a:xfrm rot="16200000" flipV="1">
              <a:off x="1856996" y="4362623"/>
              <a:ext cx="1294414" cy="287570"/>
            </a:xfrm>
            <a:prstGeom prst="bentConnector3">
              <a:avLst>
                <a:gd name="adj1" fmla="val -38"/>
              </a:avLst>
            </a:prstGeom>
            <a:solidFill>
              <a:srgbClr val="FF6600"/>
            </a:solidFill>
            <a:ln w="19050" cap="flat" cmpd="sng" algn="ctr">
              <a:solidFill>
                <a:srgbClr val="33CC33"/>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9" name="Connector: Elbow 118">
              <a:extLst>
                <a:ext uri="{FF2B5EF4-FFF2-40B4-BE49-F238E27FC236}">
                  <a16:creationId xmlns:a16="http://schemas.microsoft.com/office/drawing/2014/main" id="{7FAFAB20-2A9F-E8ED-6BF1-DCC355039EED}"/>
                </a:ext>
              </a:extLst>
            </p:cNvPr>
            <p:cNvCxnSpPr>
              <a:cxnSpLocks/>
            </p:cNvCxnSpPr>
            <p:nvPr/>
          </p:nvCxnSpPr>
          <p:spPr bwMode="auto">
            <a:xfrm rot="16200000" flipH="1">
              <a:off x="1617162" y="4347799"/>
              <a:ext cx="1509036" cy="552618"/>
            </a:xfrm>
            <a:prstGeom prst="bentConnector3">
              <a:avLst>
                <a:gd name="adj1" fmla="val 9999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0" name="TextBox 149">
              <a:extLst>
                <a:ext uri="{FF2B5EF4-FFF2-40B4-BE49-F238E27FC236}">
                  <a16:creationId xmlns:a16="http://schemas.microsoft.com/office/drawing/2014/main" id="{A5E22513-E0B5-602E-5BF7-9227A660CDFE}"/>
                </a:ext>
              </a:extLst>
            </p:cNvPr>
            <p:cNvSpPr txBox="1"/>
            <p:nvPr/>
          </p:nvSpPr>
          <p:spPr>
            <a:xfrm>
              <a:off x="3447635" y="3613865"/>
              <a:ext cx="747787" cy="498016"/>
            </a:xfrm>
            <a:prstGeom prst="rect">
              <a:avLst/>
            </a:prstGeom>
            <a:noFill/>
          </p:spPr>
          <p:txBody>
            <a:bodyPr wrap="square" lIns="36000" tIns="36000" rIns="36000" bIns="0" rtlCol="0">
              <a:spAutoFit/>
            </a:bodyPr>
            <a:lstStyle/>
            <a:p>
              <a:pPr algn="ctr"/>
              <a:r>
                <a:rPr lang="en-US" sz="1000">
                  <a:solidFill>
                    <a:schemeClr val="tx2"/>
                  </a:solidFill>
                  <a:latin typeface="+mn-lt"/>
                  <a:ea typeface="+mn-ea"/>
                </a:rPr>
                <a:t>Distributor ‘s</a:t>
              </a:r>
            </a:p>
            <a:p>
              <a:pPr algn="ctr"/>
              <a:r>
                <a:rPr kumimoji="1" lang="en-US" sz="1000">
                  <a:solidFill>
                    <a:schemeClr val="tx2"/>
                  </a:solidFill>
                  <a:latin typeface="+mn-lt"/>
                  <a:ea typeface="+mn-ea"/>
                </a:rPr>
                <a:t>share</a:t>
              </a:r>
              <a:endParaRPr kumimoji="1" lang="en-US" sz="1000">
                <a:latin typeface="+mn-lt"/>
                <a:ea typeface="+mn-ea"/>
              </a:endParaRPr>
            </a:p>
          </p:txBody>
        </p:sp>
        <p:sp>
          <p:nvSpPr>
            <p:cNvPr id="151" name="TextBox 150">
              <a:extLst>
                <a:ext uri="{FF2B5EF4-FFF2-40B4-BE49-F238E27FC236}">
                  <a16:creationId xmlns:a16="http://schemas.microsoft.com/office/drawing/2014/main" id="{59EC0D48-6E66-6486-3940-42FC69C6C9E6}"/>
                </a:ext>
              </a:extLst>
            </p:cNvPr>
            <p:cNvSpPr txBox="1"/>
            <p:nvPr/>
          </p:nvSpPr>
          <p:spPr>
            <a:xfrm>
              <a:off x="1420737" y="3613213"/>
              <a:ext cx="417845" cy="205629"/>
            </a:xfrm>
            <a:prstGeom prst="rect">
              <a:avLst/>
            </a:prstGeom>
            <a:noFill/>
          </p:spPr>
          <p:txBody>
            <a:bodyPr wrap="square" lIns="36000" tIns="36000" rIns="36000" bIns="0" rtlCol="0">
              <a:spAutoFit/>
            </a:bodyPr>
            <a:lstStyle/>
            <a:p>
              <a:r>
                <a:rPr lang="en-US" sz="1100">
                  <a:solidFill>
                    <a:schemeClr val="tx2"/>
                  </a:solidFill>
                  <a:latin typeface="+mn-lt"/>
                  <a:ea typeface="+mn-ea"/>
                </a:rPr>
                <a:t>Fees</a:t>
              </a:r>
              <a:endParaRPr kumimoji="1" lang="en-US" sz="1100">
                <a:latin typeface="+mn-lt"/>
                <a:ea typeface="+mn-ea"/>
              </a:endParaRPr>
            </a:p>
          </p:txBody>
        </p:sp>
        <p:sp>
          <p:nvSpPr>
            <p:cNvPr id="152" name="TextBox 151">
              <a:extLst>
                <a:ext uri="{FF2B5EF4-FFF2-40B4-BE49-F238E27FC236}">
                  <a16:creationId xmlns:a16="http://schemas.microsoft.com/office/drawing/2014/main" id="{E905CD92-8C9C-21DA-EE2A-2CCC303FCFCC}"/>
                </a:ext>
              </a:extLst>
            </p:cNvPr>
            <p:cNvSpPr txBox="1"/>
            <p:nvPr/>
          </p:nvSpPr>
          <p:spPr>
            <a:xfrm>
              <a:off x="1277139" y="3171713"/>
              <a:ext cx="747787" cy="190240"/>
            </a:xfrm>
            <a:prstGeom prst="rect">
              <a:avLst/>
            </a:prstGeom>
            <a:noFill/>
          </p:spPr>
          <p:txBody>
            <a:bodyPr wrap="square" lIns="36000" tIns="36000" rIns="36000" bIns="0" rtlCol="0">
              <a:spAutoFit/>
            </a:bodyPr>
            <a:lstStyle/>
            <a:p>
              <a:r>
                <a:rPr lang="en-US" sz="1000">
                  <a:solidFill>
                    <a:schemeClr val="tx2"/>
                  </a:solidFill>
                  <a:latin typeface="+mn-lt"/>
                  <a:ea typeface="+mn-ea"/>
                </a:rPr>
                <a:t>Contract</a:t>
              </a:r>
              <a:endParaRPr kumimoji="1" lang="en-US" sz="1000">
                <a:latin typeface="+mn-lt"/>
                <a:ea typeface="+mn-ea"/>
              </a:endParaRPr>
            </a:p>
          </p:txBody>
        </p:sp>
        <p:sp>
          <p:nvSpPr>
            <p:cNvPr id="153" name="TextBox 152">
              <a:extLst>
                <a:ext uri="{FF2B5EF4-FFF2-40B4-BE49-F238E27FC236}">
                  <a16:creationId xmlns:a16="http://schemas.microsoft.com/office/drawing/2014/main" id="{00263202-ED11-1BD2-9B0B-E0DD12A07A8E}"/>
                </a:ext>
              </a:extLst>
            </p:cNvPr>
            <p:cNvSpPr txBox="1"/>
            <p:nvPr/>
          </p:nvSpPr>
          <p:spPr>
            <a:xfrm>
              <a:off x="3508795" y="3171713"/>
              <a:ext cx="747787" cy="190240"/>
            </a:xfrm>
            <a:prstGeom prst="rect">
              <a:avLst/>
            </a:prstGeom>
            <a:noFill/>
          </p:spPr>
          <p:txBody>
            <a:bodyPr wrap="square" lIns="36000" tIns="36000" rIns="36000" bIns="0" rtlCol="0">
              <a:spAutoFit/>
            </a:bodyPr>
            <a:lstStyle/>
            <a:p>
              <a:r>
                <a:rPr lang="en-US" sz="1000">
                  <a:solidFill>
                    <a:schemeClr val="tx2"/>
                  </a:solidFill>
                  <a:latin typeface="+mn-lt"/>
                  <a:ea typeface="+mn-ea"/>
                </a:rPr>
                <a:t>Contract</a:t>
              </a:r>
              <a:endParaRPr kumimoji="1" lang="en-US" sz="1000">
                <a:latin typeface="+mn-lt"/>
                <a:ea typeface="+mn-ea"/>
              </a:endParaRPr>
            </a:p>
          </p:txBody>
        </p:sp>
        <p:sp>
          <p:nvSpPr>
            <p:cNvPr id="154" name="TextBox 153">
              <a:extLst>
                <a:ext uri="{FF2B5EF4-FFF2-40B4-BE49-F238E27FC236}">
                  <a16:creationId xmlns:a16="http://schemas.microsoft.com/office/drawing/2014/main" id="{3A16C758-CB51-7FA6-8B4D-1F115B6995EE}"/>
                </a:ext>
              </a:extLst>
            </p:cNvPr>
            <p:cNvSpPr txBox="1"/>
            <p:nvPr/>
          </p:nvSpPr>
          <p:spPr>
            <a:xfrm rot="16200000">
              <a:off x="2062142" y="4461679"/>
              <a:ext cx="838099" cy="190240"/>
            </a:xfrm>
            <a:prstGeom prst="rect">
              <a:avLst/>
            </a:prstGeom>
            <a:noFill/>
          </p:spPr>
          <p:txBody>
            <a:bodyPr wrap="square" lIns="36000" tIns="36000" rIns="36000" bIns="0" rtlCol="0">
              <a:spAutoFit/>
            </a:bodyPr>
            <a:lstStyle/>
            <a:p>
              <a:r>
                <a:rPr lang="en-US" sz="1000">
                  <a:solidFill>
                    <a:schemeClr val="tx2"/>
                  </a:solidFill>
                  <a:latin typeface="+mn-lt"/>
                  <a:ea typeface="+mn-ea"/>
                </a:rPr>
                <a:t>Subscription</a:t>
              </a:r>
              <a:endParaRPr kumimoji="1" lang="en-US" sz="1000">
                <a:latin typeface="+mn-lt"/>
                <a:ea typeface="+mn-ea"/>
              </a:endParaRPr>
            </a:p>
          </p:txBody>
        </p:sp>
        <p:sp>
          <p:nvSpPr>
            <p:cNvPr id="155" name="TextBox 154">
              <a:extLst>
                <a:ext uri="{FF2B5EF4-FFF2-40B4-BE49-F238E27FC236}">
                  <a16:creationId xmlns:a16="http://schemas.microsoft.com/office/drawing/2014/main" id="{0C94BDB0-4843-CB06-A087-4BFE849D4225}"/>
                </a:ext>
              </a:extLst>
            </p:cNvPr>
            <p:cNvSpPr txBox="1"/>
            <p:nvPr/>
          </p:nvSpPr>
          <p:spPr>
            <a:xfrm rot="16200000">
              <a:off x="4044429" y="4461680"/>
              <a:ext cx="838099" cy="190240"/>
            </a:xfrm>
            <a:prstGeom prst="rect">
              <a:avLst/>
            </a:prstGeom>
            <a:noFill/>
          </p:spPr>
          <p:txBody>
            <a:bodyPr wrap="square" lIns="36000" tIns="36000" rIns="36000" bIns="0" rtlCol="0">
              <a:spAutoFit/>
            </a:bodyPr>
            <a:lstStyle/>
            <a:p>
              <a:r>
                <a:rPr lang="en-US" sz="1000">
                  <a:solidFill>
                    <a:schemeClr val="tx2"/>
                  </a:solidFill>
                  <a:latin typeface="+mn-lt"/>
                  <a:ea typeface="+mn-ea"/>
                </a:rPr>
                <a:t>Ticket Sales</a:t>
              </a:r>
              <a:endParaRPr kumimoji="1" lang="en-US" sz="1000">
                <a:latin typeface="+mn-lt"/>
                <a:ea typeface="+mn-ea"/>
              </a:endParaRPr>
            </a:p>
          </p:txBody>
        </p:sp>
        <p:sp>
          <p:nvSpPr>
            <p:cNvPr id="156" name="TextBox 155">
              <a:extLst>
                <a:ext uri="{FF2B5EF4-FFF2-40B4-BE49-F238E27FC236}">
                  <a16:creationId xmlns:a16="http://schemas.microsoft.com/office/drawing/2014/main" id="{E6F5E276-A1BA-844D-C844-2ABABE474C8F}"/>
                </a:ext>
              </a:extLst>
            </p:cNvPr>
            <p:cNvSpPr txBox="1"/>
            <p:nvPr/>
          </p:nvSpPr>
          <p:spPr>
            <a:xfrm rot="16200000">
              <a:off x="1293927" y="4548634"/>
              <a:ext cx="1367542" cy="190240"/>
            </a:xfrm>
            <a:prstGeom prst="rect">
              <a:avLst/>
            </a:prstGeom>
            <a:noFill/>
          </p:spPr>
          <p:txBody>
            <a:bodyPr wrap="square" lIns="36000" tIns="36000" rIns="36000" bIns="0" rtlCol="0">
              <a:spAutoFit/>
            </a:bodyPr>
            <a:lstStyle/>
            <a:p>
              <a:r>
                <a:rPr lang="en-US" sz="1000">
                  <a:solidFill>
                    <a:schemeClr val="tx2"/>
                  </a:solidFill>
                  <a:latin typeface="+mn-lt"/>
                  <a:ea typeface="+mn-ea"/>
                </a:rPr>
                <a:t>On Demand </a:t>
              </a:r>
              <a:r>
                <a:rPr kumimoji="1" lang="en-US" sz="1000">
                  <a:solidFill>
                    <a:schemeClr val="tx2"/>
                  </a:solidFill>
                  <a:latin typeface="+mn-lt"/>
                  <a:ea typeface="+mn-ea"/>
                </a:rPr>
                <a:t>Content</a:t>
              </a:r>
              <a:endParaRPr kumimoji="1" lang="en-US" sz="1000">
                <a:latin typeface="+mn-lt"/>
                <a:ea typeface="+mn-ea"/>
              </a:endParaRPr>
            </a:p>
          </p:txBody>
        </p:sp>
        <p:sp>
          <p:nvSpPr>
            <p:cNvPr id="157" name="TextBox 156">
              <a:extLst>
                <a:ext uri="{FF2B5EF4-FFF2-40B4-BE49-F238E27FC236}">
                  <a16:creationId xmlns:a16="http://schemas.microsoft.com/office/drawing/2014/main" id="{9989F204-332A-7015-0462-3468051FDD75}"/>
                </a:ext>
              </a:extLst>
            </p:cNvPr>
            <p:cNvSpPr txBox="1"/>
            <p:nvPr/>
          </p:nvSpPr>
          <p:spPr>
            <a:xfrm rot="16200000">
              <a:off x="4360164" y="4579736"/>
              <a:ext cx="1155744" cy="190240"/>
            </a:xfrm>
            <a:prstGeom prst="rect">
              <a:avLst/>
            </a:prstGeom>
            <a:noFill/>
          </p:spPr>
          <p:txBody>
            <a:bodyPr wrap="square" lIns="36000" tIns="36000" rIns="36000" bIns="0" rtlCol="0">
              <a:spAutoFit/>
            </a:bodyPr>
            <a:lstStyle/>
            <a:p>
              <a:pPr algn="ctr"/>
              <a:r>
                <a:rPr lang="en-US" sz="1000">
                  <a:solidFill>
                    <a:schemeClr val="tx2"/>
                  </a:solidFill>
                  <a:latin typeface="+mn-lt"/>
                  <a:ea typeface="+mn-ea"/>
                </a:rPr>
                <a:t>Cinema Experience</a:t>
              </a:r>
              <a:endParaRPr kumimoji="1" lang="en-US" sz="1000">
                <a:latin typeface="+mn-lt"/>
                <a:ea typeface="+mn-ea"/>
              </a:endParaRPr>
            </a:p>
          </p:txBody>
        </p:sp>
        <p:grpSp>
          <p:nvGrpSpPr>
            <p:cNvPr id="175" name="Group 174">
              <a:extLst>
                <a:ext uri="{FF2B5EF4-FFF2-40B4-BE49-F238E27FC236}">
                  <a16:creationId xmlns:a16="http://schemas.microsoft.com/office/drawing/2014/main" id="{268D5AD8-67AD-AE21-9260-0DF8BDDC3BE0}"/>
                </a:ext>
              </a:extLst>
            </p:cNvPr>
            <p:cNvGrpSpPr/>
            <p:nvPr/>
          </p:nvGrpSpPr>
          <p:grpSpPr>
            <a:xfrm>
              <a:off x="196318" y="5389830"/>
              <a:ext cx="1588839" cy="785496"/>
              <a:chOff x="196318" y="4671886"/>
              <a:chExt cx="1588839" cy="785496"/>
            </a:xfrm>
          </p:grpSpPr>
          <p:sp>
            <p:nvSpPr>
              <p:cNvPr id="160" name="Rectangle 159">
                <a:extLst>
                  <a:ext uri="{FF2B5EF4-FFF2-40B4-BE49-F238E27FC236}">
                    <a16:creationId xmlns:a16="http://schemas.microsoft.com/office/drawing/2014/main" id="{A410AEC4-AB8F-8044-0CFB-02809AF044CA}"/>
                  </a:ext>
                </a:extLst>
              </p:cNvPr>
              <p:cNvSpPr/>
              <p:nvPr/>
            </p:nvSpPr>
            <p:spPr bwMode="auto">
              <a:xfrm>
                <a:off x="196318" y="4671886"/>
                <a:ext cx="1588839" cy="785496"/>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grpSp>
            <p:nvGrpSpPr>
              <p:cNvPr id="173" name="Group 172">
                <a:extLst>
                  <a:ext uri="{FF2B5EF4-FFF2-40B4-BE49-F238E27FC236}">
                    <a16:creationId xmlns:a16="http://schemas.microsoft.com/office/drawing/2014/main" id="{9C0B038B-2935-990C-C1C4-A4BC34754D75}"/>
                  </a:ext>
                </a:extLst>
              </p:cNvPr>
              <p:cNvGrpSpPr/>
              <p:nvPr/>
            </p:nvGrpSpPr>
            <p:grpSpPr>
              <a:xfrm>
                <a:off x="286112" y="4758062"/>
                <a:ext cx="1320413" cy="251795"/>
                <a:chOff x="286112" y="4758062"/>
                <a:chExt cx="1320413" cy="251795"/>
              </a:xfrm>
            </p:grpSpPr>
            <p:cxnSp>
              <p:nvCxnSpPr>
                <p:cNvPr id="163" name="Straight Arrow Connector 162">
                  <a:extLst>
                    <a:ext uri="{FF2B5EF4-FFF2-40B4-BE49-F238E27FC236}">
                      <a16:creationId xmlns:a16="http://schemas.microsoft.com/office/drawing/2014/main" id="{28727743-CAB9-6CC4-3971-6BA29088A6D4}"/>
                    </a:ext>
                  </a:extLst>
                </p:cNvPr>
                <p:cNvCxnSpPr/>
                <p:nvPr/>
              </p:nvCxnSpPr>
              <p:spPr bwMode="auto">
                <a:xfrm>
                  <a:off x="286112" y="4915267"/>
                  <a:ext cx="327346" cy="0"/>
                </a:xfrm>
                <a:prstGeom prst="straightConnector1">
                  <a:avLst/>
                </a:prstGeom>
                <a:solidFill>
                  <a:srgbClr val="FF6600"/>
                </a:solidFill>
                <a:ln w="19050" cap="flat" cmpd="sng" algn="ctr">
                  <a:solidFill>
                    <a:srgbClr val="33CC33"/>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4" name="TextBox 163">
                  <a:extLst>
                    <a:ext uri="{FF2B5EF4-FFF2-40B4-BE49-F238E27FC236}">
                      <a16:creationId xmlns:a16="http://schemas.microsoft.com/office/drawing/2014/main" id="{B6EC403A-8615-33F2-720E-524F42A21727}"/>
                    </a:ext>
                  </a:extLst>
                </p:cNvPr>
                <p:cNvSpPr txBox="1"/>
                <p:nvPr/>
              </p:nvSpPr>
              <p:spPr>
                <a:xfrm>
                  <a:off x="641986" y="4758062"/>
                  <a:ext cx="964539" cy="251795"/>
                </a:xfrm>
                <a:prstGeom prst="rect">
                  <a:avLst/>
                </a:prstGeom>
                <a:noFill/>
              </p:spPr>
              <p:txBody>
                <a:bodyPr wrap="square" lIns="36000" tIns="36000" rIns="36000" bIns="0" rtlCol="0">
                  <a:spAutoFit/>
                </a:bodyPr>
                <a:lstStyle/>
                <a:p>
                  <a:r>
                    <a:rPr kumimoji="1" lang="en-US" sz="1400">
                      <a:latin typeface="+mn-lt"/>
                      <a:ea typeface="+mn-ea"/>
                    </a:rPr>
                    <a:t>: Revenue</a:t>
                  </a:r>
                </a:p>
              </p:txBody>
            </p:sp>
          </p:grpSp>
          <p:grpSp>
            <p:nvGrpSpPr>
              <p:cNvPr id="174" name="Group 173">
                <a:extLst>
                  <a:ext uri="{FF2B5EF4-FFF2-40B4-BE49-F238E27FC236}">
                    <a16:creationId xmlns:a16="http://schemas.microsoft.com/office/drawing/2014/main" id="{09C30D20-212D-B318-5B07-33FB0A47006F}"/>
                  </a:ext>
                </a:extLst>
              </p:cNvPr>
              <p:cNvGrpSpPr/>
              <p:nvPr/>
            </p:nvGrpSpPr>
            <p:grpSpPr>
              <a:xfrm>
                <a:off x="286112" y="5077453"/>
                <a:ext cx="1330573" cy="251795"/>
                <a:chOff x="286112" y="5077453"/>
                <a:chExt cx="1330573" cy="251795"/>
              </a:xfrm>
            </p:grpSpPr>
            <p:sp>
              <p:nvSpPr>
                <p:cNvPr id="165" name="TextBox 164">
                  <a:extLst>
                    <a:ext uri="{FF2B5EF4-FFF2-40B4-BE49-F238E27FC236}">
                      <a16:creationId xmlns:a16="http://schemas.microsoft.com/office/drawing/2014/main" id="{4492B261-50C0-D6B6-3C27-A8C404EF0D80}"/>
                    </a:ext>
                  </a:extLst>
                </p:cNvPr>
                <p:cNvSpPr txBox="1"/>
                <p:nvPr/>
              </p:nvSpPr>
              <p:spPr>
                <a:xfrm>
                  <a:off x="652146" y="5077453"/>
                  <a:ext cx="964539" cy="251795"/>
                </a:xfrm>
                <a:prstGeom prst="rect">
                  <a:avLst/>
                </a:prstGeom>
                <a:noFill/>
              </p:spPr>
              <p:txBody>
                <a:bodyPr wrap="square" lIns="36000" tIns="36000" rIns="36000" bIns="0" rtlCol="0">
                  <a:spAutoFit/>
                </a:bodyPr>
                <a:lstStyle/>
                <a:p>
                  <a:r>
                    <a:rPr kumimoji="1" lang="en-US" sz="1400">
                      <a:latin typeface="+mn-lt"/>
                      <a:ea typeface="+mn-ea"/>
                    </a:rPr>
                    <a:t>: Content</a:t>
                  </a:r>
                </a:p>
              </p:txBody>
            </p:sp>
            <p:cxnSp>
              <p:nvCxnSpPr>
                <p:cNvPr id="166" name="Straight Arrow Connector 165">
                  <a:extLst>
                    <a:ext uri="{FF2B5EF4-FFF2-40B4-BE49-F238E27FC236}">
                      <a16:creationId xmlns:a16="http://schemas.microsoft.com/office/drawing/2014/main" id="{80EEEA00-EBA0-A7E0-B49F-04E88C965F10}"/>
                    </a:ext>
                  </a:extLst>
                </p:cNvPr>
                <p:cNvCxnSpPr/>
                <p:nvPr/>
              </p:nvCxnSpPr>
              <p:spPr bwMode="auto">
                <a:xfrm>
                  <a:off x="286112" y="5203350"/>
                  <a:ext cx="327346" cy="0"/>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cxnSp>
          <p:nvCxnSpPr>
            <p:cNvPr id="167" name="Straight Arrow Connector 166">
              <a:extLst>
                <a:ext uri="{FF2B5EF4-FFF2-40B4-BE49-F238E27FC236}">
                  <a16:creationId xmlns:a16="http://schemas.microsoft.com/office/drawing/2014/main" id="{3D6BBCD9-FF01-0806-1029-B62D16915B12}"/>
                </a:ext>
              </a:extLst>
            </p:cNvPr>
            <p:cNvCxnSpPr/>
            <p:nvPr/>
          </p:nvCxnSpPr>
          <p:spPr bwMode="auto">
            <a:xfrm>
              <a:off x="3442662" y="3388397"/>
              <a:ext cx="703706" cy="0"/>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9" name="Straight Arrow Connector 168">
              <a:extLst>
                <a:ext uri="{FF2B5EF4-FFF2-40B4-BE49-F238E27FC236}">
                  <a16:creationId xmlns:a16="http://schemas.microsoft.com/office/drawing/2014/main" id="{CA3376D2-307E-C248-25EB-9E897CCBBB94}"/>
                </a:ext>
              </a:extLst>
            </p:cNvPr>
            <p:cNvCxnSpPr/>
            <p:nvPr/>
          </p:nvCxnSpPr>
          <p:spPr bwMode="auto">
            <a:xfrm flipH="1">
              <a:off x="3441766" y="3620801"/>
              <a:ext cx="686369" cy="0"/>
            </a:xfrm>
            <a:prstGeom prst="straightConnector1">
              <a:avLst/>
            </a:prstGeom>
            <a:solidFill>
              <a:srgbClr val="FF6600"/>
            </a:solidFill>
            <a:ln w="19050" cap="flat" cmpd="sng" algn="ctr">
              <a:solidFill>
                <a:srgbClr val="33CC33"/>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87" name="Group 186">
              <a:extLst>
                <a:ext uri="{FF2B5EF4-FFF2-40B4-BE49-F238E27FC236}">
                  <a16:creationId xmlns:a16="http://schemas.microsoft.com/office/drawing/2014/main" id="{5E01B596-B17A-7E8E-19DC-AB8DCCBA3093}"/>
                </a:ext>
              </a:extLst>
            </p:cNvPr>
            <p:cNvGrpSpPr/>
            <p:nvPr/>
          </p:nvGrpSpPr>
          <p:grpSpPr>
            <a:xfrm>
              <a:off x="202541" y="2260504"/>
              <a:ext cx="1102411" cy="1598697"/>
              <a:chOff x="202541" y="2260504"/>
              <a:chExt cx="1102411" cy="1598697"/>
            </a:xfrm>
          </p:grpSpPr>
          <p:grpSp>
            <p:nvGrpSpPr>
              <p:cNvPr id="89" name="Group 88">
                <a:extLst>
                  <a:ext uri="{FF2B5EF4-FFF2-40B4-BE49-F238E27FC236}">
                    <a16:creationId xmlns:a16="http://schemas.microsoft.com/office/drawing/2014/main" id="{672F88F4-A753-8A84-C502-97AD13E7CF3A}"/>
                  </a:ext>
                </a:extLst>
              </p:cNvPr>
              <p:cNvGrpSpPr/>
              <p:nvPr/>
            </p:nvGrpSpPr>
            <p:grpSpPr>
              <a:xfrm>
                <a:off x="202541" y="2260504"/>
                <a:ext cx="1102411" cy="1598697"/>
                <a:chOff x="198490" y="2286825"/>
                <a:chExt cx="1102411" cy="1239222"/>
              </a:xfrm>
            </p:grpSpPr>
            <p:sp>
              <p:nvSpPr>
                <p:cNvPr id="18" name="Rectangle 17">
                  <a:extLst>
                    <a:ext uri="{FF2B5EF4-FFF2-40B4-BE49-F238E27FC236}">
                      <a16:creationId xmlns:a16="http://schemas.microsoft.com/office/drawing/2014/main" id="{4CDD7EDA-8C8C-AD0F-5282-86227D3C00F5}"/>
                    </a:ext>
                  </a:extLst>
                </p:cNvPr>
                <p:cNvSpPr/>
                <p:nvPr/>
              </p:nvSpPr>
              <p:spPr bwMode="auto">
                <a:xfrm>
                  <a:off x="198490" y="2298849"/>
                  <a:ext cx="1102411" cy="1227198"/>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19" name="TextBox 18">
                  <a:extLst>
                    <a:ext uri="{FF2B5EF4-FFF2-40B4-BE49-F238E27FC236}">
                      <a16:creationId xmlns:a16="http://schemas.microsoft.com/office/drawing/2014/main" id="{FB22A53D-A04E-4953-5B43-167D0D623473}"/>
                    </a:ext>
                  </a:extLst>
                </p:cNvPr>
                <p:cNvSpPr txBox="1"/>
                <p:nvPr/>
              </p:nvSpPr>
              <p:spPr>
                <a:xfrm>
                  <a:off x="226955" y="2286825"/>
                  <a:ext cx="1018876" cy="195178"/>
                </a:xfrm>
                <a:prstGeom prst="rect">
                  <a:avLst/>
                </a:prstGeom>
                <a:noFill/>
              </p:spPr>
              <p:txBody>
                <a:bodyPr wrap="square" lIns="36000" tIns="36000" rIns="36000" bIns="0" rtlCol="0">
                  <a:spAutoFit/>
                </a:bodyPr>
                <a:lstStyle/>
                <a:p>
                  <a:pPr algn="ctr"/>
                  <a:r>
                    <a:rPr kumimoji="1" lang="en-US" sz="1400" b="1">
                      <a:latin typeface="+mn-lt"/>
                      <a:ea typeface="+mn-ea"/>
                    </a:rPr>
                    <a:t>Producer</a:t>
                  </a:r>
                </a:p>
              </p:txBody>
            </p:sp>
          </p:grpSp>
          <p:sp>
            <p:nvSpPr>
              <p:cNvPr id="176" name="TextBox 175">
                <a:extLst>
                  <a:ext uri="{FF2B5EF4-FFF2-40B4-BE49-F238E27FC236}">
                    <a16:creationId xmlns:a16="http://schemas.microsoft.com/office/drawing/2014/main" id="{077EFBB0-D5A1-CB2B-C8A6-808F5D826300}"/>
                  </a:ext>
                </a:extLst>
              </p:cNvPr>
              <p:cNvSpPr txBox="1"/>
              <p:nvPr/>
            </p:nvSpPr>
            <p:spPr>
              <a:xfrm>
                <a:off x="251595" y="2701546"/>
                <a:ext cx="962915" cy="1052014"/>
              </a:xfrm>
              <a:prstGeom prst="rect">
                <a:avLst/>
              </a:prstGeom>
              <a:noFill/>
            </p:spPr>
            <p:txBody>
              <a:bodyPr wrap="square" lIns="36000" tIns="36000" rIns="36000" bIns="0" rtlCol="0">
                <a:spAutoFit/>
              </a:bodyPr>
              <a:lstStyle/>
              <a:p>
                <a:r>
                  <a:rPr kumimoji="1" lang="en-US" sz="1100">
                    <a:latin typeface="+mn-lt"/>
                    <a:ea typeface="+mn-ea"/>
                  </a:rPr>
                  <a:t>Key Resource: Content</a:t>
                </a:r>
              </a:p>
              <a:p>
                <a:endParaRPr kumimoji="1" lang="en-US" sz="1100">
                  <a:latin typeface="+mn-lt"/>
                  <a:ea typeface="+mn-ea"/>
                </a:endParaRPr>
              </a:p>
              <a:p>
                <a:r>
                  <a:rPr lang="en-US" sz="1100">
                    <a:latin typeface="+mn-lt"/>
                    <a:ea typeface="+mn-ea"/>
                  </a:rPr>
                  <a:t>Cost: Production Costs</a:t>
                </a:r>
                <a:endParaRPr kumimoji="1" lang="en-US" sz="1100">
                  <a:latin typeface="+mn-lt"/>
                  <a:ea typeface="+mn-ea"/>
                </a:endParaRPr>
              </a:p>
            </p:txBody>
          </p:sp>
        </p:grpSp>
        <p:sp>
          <p:nvSpPr>
            <p:cNvPr id="177" name="TextBox 176">
              <a:extLst>
                <a:ext uri="{FF2B5EF4-FFF2-40B4-BE49-F238E27FC236}">
                  <a16:creationId xmlns:a16="http://schemas.microsoft.com/office/drawing/2014/main" id="{210180B1-B554-9EBB-06F0-3333EBE6CE6D}"/>
                </a:ext>
              </a:extLst>
            </p:cNvPr>
            <p:cNvSpPr txBox="1"/>
            <p:nvPr/>
          </p:nvSpPr>
          <p:spPr>
            <a:xfrm>
              <a:off x="1931618" y="2416341"/>
              <a:ext cx="1576874" cy="713460"/>
            </a:xfrm>
            <a:prstGeom prst="rect">
              <a:avLst/>
            </a:prstGeom>
            <a:noFill/>
          </p:spPr>
          <p:txBody>
            <a:bodyPr wrap="square" lIns="36000" tIns="36000" rIns="36000" bIns="0" rtlCol="0">
              <a:spAutoFit/>
            </a:bodyPr>
            <a:lstStyle/>
            <a:p>
              <a:r>
                <a:rPr kumimoji="1" lang="en-US" sz="1100">
                  <a:latin typeface="+mn-lt"/>
                  <a:ea typeface="+mn-ea"/>
                </a:rPr>
                <a:t>Key Resource: Distribution Rights</a:t>
              </a:r>
            </a:p>
            <a:p>
              <a:endParaRPr kumimoji="1" lang="en-US" sz="1100">
                <a:latin typeface="+mn-lt"/>
                <a:ea typeface="+mn-ea"/>
              </a:endParaRPr>
            </a:p>
            <a:p>
              <a:r>
                <a:rPr lang="en-US" sz="1100">
                  <a:latin typeface="+mn-lt"/>
                  <a:ea typeface="+mn-ea"/>
                </a:rPr>
                <a:t>Cost: Distribution Costs</a:t>
              </a:r>
              <a:endParaRPr kumimoji="1" lang="en-US" sz="1100">
                <a:latin typeface="+mn-lt"/>
                <a:ea typeface="+mn-ea"/>
              </a:endParaRPr>
            </a:p>
          </p:txBody>
        </p:sp>
      </p:grpSp>
      <p:sp>
        <p:nvSpPr>
          <p:cNvPr id="180" name="Rectangle 3">
            <a:extLst>
              <a:ext uri="{FF2B5EF4-FFF2-40B4-BE49-F238E27FC236}">
                <a16:creationId xmlns:a16="http://schemas.microsoft.com/office/drawing/2014/main" id="{95940763-A564-F709-E711-242503887749}"/>
              </a:ext>
            </a:extLst>
          </p:cNvPr>
          <p:cNvSpPr txBox="1">
            <a:spLocks noChangeArrowheads="1"/>
          </p:cNvSpPr>
          <p:nvPr/>
        </p:nvSpPr>
        <p:spPr bwMode="auto">
          <a:xfrm>
            <a:off x="105762" y="6572046"/>
            <a:ext cx="4176000" cy="342383"/>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72000" rIns="72000" bIns="72000" numCol="1" anchor="b" anchorCtr="0" compatLnSpc="1">
            <a:prstTxWarp prst="textNoShape">
              <a:avLst/>
            </a:prstTxWarp>
            <a:spAutoFit/>
          </a:bodyPr>
          <a:lstStyle>
            <a:lvl1pPr algn="l" rtl="0" eaLnBrk="1" fontAlgn="base" hangingPunct="1">
              <a:spcBef>
                <a:spcPts val="600"/>
              </a:spcBef>
              <a:spcAft>
                <a:spcPct val="0"/>
              </a:spcAft>
              <a:defRPr kumimoji="1" sz="1600">
                <a:solidFill>
                  <a:schemeClr val="tx1"/>
                </a:solidFill>
                <a:latin typeface="+mn-lt"/>
                <a:ea typeface="+mn-ea"/>
                <a:cs typeface="メイリオ" pitchFamily="50" charset="-128"/>
              </a:defRPr>
            </a:lvl1pPr>
            <a:lvl2pPr marL="450850" indent="-196850" algn="l" rtl="0" eaLnBrk="1" fontAlgn="base" hangingPunct="1">
              <a:spcBef>
                <a:spcPts val="600"/>
              </a:spcBef>
              <a:spcAft>
                <a:spcPct val="0"/>
              </a:spcAft>
              <a:buSzPct val="90000"/>
              <a:buFont typeface="Arial" panose="020B0604020202020204" pitchFamily="34" charset="0"/>
              <a:buChar char="●"/>
              <a:defRPr kumimoji="1" sz="1600">
                <a:solidFill>
                  <a:schemeClr val="tx1"/>
                </a:solidFill>
                <a:latin typeface="+mn-lt"/>
                <a:ea typeface="+mn-ea"/>
                <a:cs typeface="メイリオ" pitchFamily="50" charset="-128"/>
              </a:defRPr>
            </a:lvl2pPr>
            <a:lvl3pPr marL="846138" indent="-179388" algn="l" rtl="0" eaLnBrk="1" fontAlgn="base" hangingPunct="1">
              <a:spcBef>
                <a:spcPts val="600"/>
              </a:spcBef>
              <a:spcAft>
                <a:spcPct val="0"/>
              </a:spcAft>
              <a:buSzPct val="90000"/>
              <a:buChar char="–"/>
              <a:defRPr kumimoji="1" sz="1600">
                <a:solidFill>
                  <a:schemeClr val="tx1"/>
                </a:solidFill>
                <a:latin typeface="+mn-lt"/>
                <a:ea typeface="+mn-ea"/>
                <a:cs typeface="メイリオ" pitchFamily="50" charset="-128"/>
              </a:defRPr>
            </a:lvl3pPr>
            <a:lvl4pPr marL="1228725" indent="-158750" algn="l" rtl="0" eaLnBrk="1" fontAlgn="base" hangingPunct="1">
              <a:spcBef>
                <a:spcPts val="600"/>
              </a:spcBef>
              <a:spcAft>
                <a:spcPct val="0"/>
              </a:spcAft>
              <a:buSzPct val="70000"/>
              <a:buFont typeface="Arial" panose="020B0604020202020204" pitchFamily="34" charset="0"/>
              <a:buChar char="○"/>
              <a:defRPr kumimoji="1" sz="1600">
                <a:solidFill>
                  <a:schemeClr val="tx1"/>
                </a:solidFill>
                <a:latin typeface="+mn-lt"/>
                <a:ea typeface="+mn-ea"/>
                <a:cs typeface="メイリオ" pitchFamily="50" charset="-128"/>
              </a:defRPr>
            </a:lvl4pPr>
            <a:lvl5pPr marL="1617663" indent="-176213" algn="l" rtl="0" eaLnBrk="1" fontAlgn="base" hangingPunct="1">
              <a:spcBef>
                <a:spcPts val="600"/>
              </a:spcBef>
              <a:spcAft>
                <a:spcPct val="0"/>
              </a:spcAft>
              <a:buSzPct val="70000"/>
              <a:buChar char="–"/>
              <a:defRPr kumimoji="1" sz="1600">
                <a:solidFill>
                  <a:schemeClr val="tx1"/>
                </a:solidFill>
                <a:latin typeface="+mn-lt"/>
                <a:ea typeface="+mn-ea"/>
                <a:cs typeface="メイリオ" pitchFamily="50" charset="-128"/>
              </a:defRPr>
            </a:lvl5pPr>
            <a:lvl6pPr marL="2038350" indent="0" algn="l" rtl="0" eaLnBrk="1" fontAlgn="base" hangingPunct="1">
              <a:spcBef>
                <a:spcPct val="30000"/>
              </a:spcBef>
              <a:spcAft>
                <a:spcPct val="0"/>
              </a:spcAft>
              <a:buSzPct val="70000"/>
              <a:buNone/>
              <a:defRPr kumimoji="1">
                <a:solidFill>
                  <a:schemeClr val="tx1"/>
                </a:solidFill>
                <a:latin typeface="+mn-lt"/>
                <a:ea typeface="+mn-ea"/>
              </a:defRPr>
            </a:lvl6pPr>
            <a:lvl7pPr marL="2724150" indent="-228600" algn="l" rtl="0" eaLnBrk="1" fontAlgn="base" hangingPunct="1">
              <a:spcBef>
                <a:spcPct val="30000"/>
              </a:spcBef>
              <a:spcAft>
                <a:spcPct val="0"/>
              </a:spcAft>
              <a:buSzPct val="70000"/>
              <a:buChar char="–"/>
              <a:defRPr kumimoji="1">
                <a:solidFill>
                  <a:schemeClr val="tx1"/>
                </a:solidFill>
                <a:latin typeface="+mn-lt"/>
                <a:ea typeface="+mn-ea"/>
              </a:defRPr>
            </a:lvl7pPr>
            <a:lvl8pPr marL="3181350" indent="-228600" algn="l" rtl="0" eaLnBrk="1" fontAlgn="base" hangingPunct="1">
              <a:spcBef>
                <a:spcPct val="30000"/>
              </a:spcBef>
              <a:spcAft>
                <a:spcPct val="0"/>
              </a:spcAft>
              <a:buSzPct val="70000"/>
              <a:buChar char="–"/>
              <a:defRPr kumimoji="1">
                <a:solidFill>
                  <a:schemeClr val="tx1"/>
                </a:solidFill>
                <a:latin typeface="+mn-lt"/>
                <a:ea typeface="+mn-ea"/>
              </a:defRPr>
            </a:lvl8pPr>
            <a:lvl9pPr marL="3638550" indent="-228600" algn="l" rtl="0" eaLnBrk="1" fontAlgn="base" hangingPunct="1">
              <a:spcBef>
                <a:spcPct val="30000"/>
              </a:spcBef>
              <a:spcAft>
                <a:spcPct val="0"/>
              </a:spcAft>
              <a:buSzPct val="70000"/>
              <a:buChar char="–"/>
              <a:defRPr kumimoji="1">
                <a:solidFill>
                  <a:schemeClr val="tx1"/>
                </a:solidFill>
                <a:latin typeface="+mn-lt"/>
                <a:ea typeface="+mn-ea"/>
              </a:defRPr>
            </a:lvl9pPr>
          </a:lstStyle>
          <a:p>
            <a:pPr defTabSz="538163">
              <a:lnSpc>
                <a:spcPct val="80000"/>
              </a:lnSpc>
              <a:spcBef>
                <a:spcPts val="0"/>
              </a:spcBef>
            </a:pPr>
            <a:r>
              <a:rPr lang="en-US" altLang="ja-JP" sz="800">
                <a:cs typeface="Arial" panose="020B0604020202020204" pitchFamily="34" charset="0"/>
              </a:rPr>
              <a:t>* OTT : Over-The-Top (Film content over the internet)</a:t>
            </a:r>
          </a:p>
          <a:p>
            <a:pPr defTabSz="538163">
              <a:lnSpc>
                <a:spcPct val="80000"/>
              </a:lnSpc>
              <a:spcBef>
                <a:spcPts val="0"/>
              </a:spcBef>
            </a:pPr>
            <a:r>
              <a:rPr lang="en-US" altLang="ja-JP" sz="800">
                <a:cs typeface="Arial" panose="020B0604020202020204" pitchFamily="34" charset="0"/>
              </a:rPr>
              <a:t>  Global Box Office Sales figures based on 2022 data </a:t>
            </a:r>
            <a:endParaRPr lang="ja-JP" altLang="en-US" sz="800">
              <a:cs typeface="Arial" panose="020B0604020202020204" pitchFamily="34" charset="0"/>
            </a:endParaRPr>
          </a:p>
        </p:txBody>
      </p:sp>
      <p:sp>
        <p:nvSpPr>
          <p:cNvPr id="182" name="Rectangle 181">
            <a:extLst>
              <a:ext uri="{FF2B5EF4-FFF2-40B4-BE49-F238E27FC236}">
                <a16:creationId xmlns:a16="http://schemas.microsoft.com/office/drawing/2014/main" id="{51C8A7FA-5244-0BC6-60A6-35E3B11C47ED}"/>
              </a:ext>
            </a:extLst>
          </p:cNvPr>
          <p:cNvSpPr/>
          <p:nvPr/>
        </p:nvSpPr>
        <p:spPr bwMode="auto">
          <a:xfrm>
            <a:off x="5662671" y="1714612"/>
            <a:ext cx="452061" cy="3017074"/>
          </a:xfrm>
          <a:prstGeom prst="rect">
            <a:avLst/>
          </a:prstGeom>
          <a:solidFill>
            <a:schemeClr val="tx2"/>
          </a:solidFill>
          <a:ln w="12700" cap="flat" cmpd="sng" algn="ctr">
            <a:noFill/>
            <a:prstDash val="solid"/>
            <a:round/>
            <a:headEnd type="none" w="med" len="med"/>
            <a:tailEnd type="none" w="med" len="med"/>
          </a:ln>
          <a:effectLst/>
        </p:spPr>
        <p:txBody>
          <a:bodyPr vert="vert270"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400" b="0" i="0" u="none" strike="noStrike" cap="none" normalizeH="0" baseline="0">
                <a:ln>
                  <a:noFill/>
                </a:ln>
                <a:solidFill>
                  <a:schemeClr val="bg1"/>
                </a:solidFill>
                <a:effectLst/>
                <a:latin typeface="+mn-lt"/>
                <a:ea typeface="+mn-ea"/>
              </a:rPr>
              <a:t>Description</a:t>
            </a:r>
          </a:p>
        </p:txBody>
      </p:sp>
      <p:sp>
        <p:nvSpPr>
          <p:cNvPr id="183" name="TextBox 182">
            <a:extLst>
              <a:ext uri="{FF2B5EF4-FFF2-40B4-BE49-F238E27FC236}">
                <a16:creationId xmlns:a16="http://schemas.microsoft.com/office/drawing/2014/main" id="{5D2E0A6F-11DF-3897-5C03-9983CE659E97}"/>
              </a:ext>
            </a:extLst>
          </p:cNvPr>
          <p:cNvSpPr txBox="1"/>
          <p:nvPr/>
        </p:nvSpPr>
        <p:spPr>
          <a:xfrm>
            <a:off x="6154318" y="1714613"/>
            <a:ext cx="3547393" cy="3052562"/>
          </a:xfrm>
          <a:prstGeom prst="rect">
            <a:avLst/>
          </a:prstGeom>
          <a:noFill/>
        </p:spPr>
        <p:txBody>
          <a:bodyPr wrap="square" lIns="36000" tIns="36000" rIns="36000" bIns="0" rtlCol="0" anchor="t">
            <a:spAutoFit/>
          </a:bodyPr>
          <a:lstStyle/>
          <a:p>
            <a:pPr marL="173038" indent="-173038">
              <a:buFont typeface="Arial" panose="020B0604020202020204" pitchFamily="34" charset="0"/>
              <a:buChar char="•"/>
            </a:pPr>
            <a:r>
              <a:rPr lang="en-US" sz="1400">
                <a:solidFill>
                  <a:srgbClr val="374151"/>
                </a:solidFill>
                <a:latin typeface="+mn-lt"/>
                <a:ea typeface="ＭＳ Ｐゴシック"/>
              </a:rPr>
              <a:t>Movie Production Studios establish contractual relation with Distributors to distribute their original content </a:t>
            </a:r>
          </a:p>
          <a:p>
            <a:pPr marL="173038" indent="-173038">
              <a:buFont typeface="Arial" panose="020B0604020202020204" pitchFamily="34" charset="0"/>
              <a:buChar char="•"/>
            </a:pPr>
            <a:r>
              <a:rPr lang="en-US" sz="1400">
                <a:solidFill>
                  <a:srgbClr val="374151"/>
                </a:solidFill>
                <a:latin typeface="+mn-lt"/>
                <a:ea typeface="ＭＳ Ｐゴシック"/>
              </a:rPr>
              <a:t>Distributors own the distribution rights to movie content which is shown across cinema or OTT platforms</a:t>
            </a:r>
          </a:p>
          <a:p>
            <a:pPr marL="568325" lvl="1" indent="-285750">
              <a:buFont typeface="Courier New" panose="02070309020205020404" pitchFamily="49" charset="0"/>
              <a:buChar char="o"/>
            </a:pPr>
            <a:r>
              <a:rPr lang="en-US" sz="1400">
                <a:solidFill>
                  <a:srgbClr val="374151"/>
                </a:solidFill>
                <a:latin typeface="+mn-lt"/>
                <a:ea typeface="ＭＳ Ｐゴシック"/>
              </a:rPr>
              <a:t>Theatrical distributors distribute film content to movie theatre for a portion of revenue generated from ticket sales</a:t>
            </a:r>
          </a:p>
          <a:p>
            <a:pPr marL="568325" lvl="1" indent="-285750">
              <a:buFont typeface="Courier New" panose="02070309020205020404" pitchFamily="49" charset="0"/>
              <a:buChar char="o"/>
            </a:pPr>
            <a:r>
              <a:rPr lang="en-US" sz="1400">
                <a:solidFill>
                  <a:srgbClr val="374151"/>
                </a:solidFill>
                <a:latin typeface="+mn-lt"/>
                <a:ea typeface="ＭＳ Ｐゴシック"/>
              </a:rPr>
              <a:t>OTT distributors make film content available to audience on demand on their platform in exchange for subscription fees</a:t>
            </a:r>
          </a:p>
        </p:txBody>
      </p:sp>
      <p:cxnSp>
        <p:nvCxnSpPr>
          <p:cNvPr id="184" name="Straight Connector 183">
            <a:extLst>
              <a:ext uri="{FF2B5EF4-FFF2-40B4-BE49-F238E27FC236}">
                <a16:creationId xmlns:a16="http://schemas.microsoft.com/office/drawing/2014/main" id="{23EA5641-407F-F6F1-740B-2C78A8C9BE95}"/>
              </a:ext>
            </a:extLst>
          </p:cNvPr>
          <p:cNvCxnSpPr/>
          <p:nvPr/>
        </p:nvCxnSpPr>
        <p:spPr bwMode="auto">
          <a:xfrm flipH="1">
            <a:off x="5616561" y="4829166"/>
            <a:ext cx="4183678" cy="0"/>
          </a:xfrm>
          <a:prstGeom prst="line">
            <a:avLst/>
          </a:prstGeom>
          <a:solidFill>
            <a:srgbClr val="FF6600"/>
          </a:solidFill>
          <a:ln w="12700" cap="flat" cmpd="sng" algn="ctr">
            <a:solidFill>
              <a:schemeClr val="tx1">
                <a:lumMod val="40000"/>
                <a:lumOff val="6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5" name="Rectangle 184">
            <a:extLst>
              <a:ext uri="{FF2B5EF4-FFF2-40B4-BE49-F238E27FC236}">
                <a16:creationId xmlns:a16="http://schemas.microsoft.com/office/drawing/2014/main" id="{5E02C9B9-8341-368A-0C3F-F3E9D772930E}"/>
              </a:ext>
            </a:extLst>
          </p:cNvPr>
          <p:cNvSpPr/>
          <p:nvPr/>
        </p:nvSpPr>
        <p:spPr bwMode="auto">
          <a:xfrm>
            <a:off x="5662671" y="4926646"/>
            <a:ext cx="452061" cy="1778716"/>
          </a:xfrm>
          <a:prstGeom prst="rect">
            <a:avLst/>
          </a:prstGeom>
          <a:solidFill>
            <a:schemeClr val="tx2"/>
          </a:solidFill>
          <a:ln w="12700" cap="flat" cmpd="sng" algn="ctr">
            <a:noFill/>
            <a:prstDash val="solid"/>
            <a:round/>
            <a:headEnd type="none" w="med" len="med"/>
            <a:tailEnd type="none" w="med" len="med"/>
          </a:ln>
          <a:effectLst/>
        </p:spPr>
        <p:txBody>
          <a:bodyPr vert="vert270"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400" b="0" i="0" u="none" strike="noStrike" cap="none" normalizeH="0" baseline="0">
                <a:ln>
                  <a:noFill/>
                </a:ln>
                <a:solidFill>
                  <a:schemeClr val="bg1"/>
                </a:solidFill>
                <a:effectLst/>
                <a:latin typeface="+mn-lt"/>
                <a:ea typeface="+mn-ea"/>
              </a:rPr>
              <a:t>Top Players</a:t>
            </a:r>
          </a:p>
        </p:txBody>
      </p:sp>
      <p:sp>
        <p:nvSpPr>
          <p:cNvPr id="186" name="TextBox 185">
            <a:extLst>
              <a:ext uri="{FF2B5EF4-FFF2-40B4-BE49-F238E27FC236}">
                <a16:creationId xmlns:a16="http://schemas.microsoft.com/office/drawing/2014/main" id="{D90A5ECD-B91D-F5A7-FD68-249BDD6C3E3C}"/>
              </a:ext>
            </a:extLst>
          </p:cNvPr>
          <p:cNvSpPr txBox="1"/>
          <p:nvPr/>
        </p:nvSpPr>
        <p:spPr>
          <a:xfrm>
            <a:off x="6154318" y="4926646"/>
            <a:ext cx="3547393" cy="1544457"/>
          </a:xfrm>
          <a:prstGeom prst="rect">
            <a:avLst/>
          </a:prstGeom>
          <a:noFill/>
        </p:spPr>
        <p:txBody>
          <a:bodyPr wrap="square" lIns="36000" tIns="36000" rIns="36000" bIns="0" rtlCol="0" anchor="t">
            <a:spAutoFit/>
          </a:bodyPr>
          <a:lstStyle/>
          <a:p>
            <a:pPr marL="173038" indent="-173038">
              <a:buFont typeface="Arial" panose="020B0604020202020204" pitchFamily="34" charset="0"/>
              <a:buChar char="•"/>
            </a:pPr>
            <a:r>
              <a:rPr lang="en-US" sz="1400">
                <a:solidFill>
                  <a:srgbClr val="374151"/>
                </a:solidFill>
                <a:latin typeface="+mn-lt"/>
                <a:ea typeface="ＭＳ Ｐゴシック"/>
              </a:rPr>
              <a:t>Movie Production Studio:</a:t>
            </a:r>
          </a:p>
          <a:p>
            <a:pPr marL="630238" lvl="1" indent="-173038">
              <a:buFont typeface="Arial" panose="020B0604020202020204" pitchFamily="34" charset="0"/>
              <a:buChar char="•"/>
            </a:pPr>
            <a:r>
              <a:rPr lang="en-US" sz="1400">
                <a:solidFill>
                  <a:srgbClr val="374151"/>
                </a:solidFill>
                <a:latin typeface="+mn-lt"/>
                <a:ea typeface="ＭＳ Ｐゴシック"/>
              </a:rPr>
              <a:t>The Walt Disney Studios (Global Box Office Sales: $79B) </a:t>
            </a:r>
          </a:p>
          <a:p>
            <a:pPr marL="630238" lvl="1" indent="-173038">
              <a:buFont typeface="Arial" panose="020B0604020202020204" pitchFamily="34" charset="0"/>
              <a:buChar char="•"/>
            </a:pPr>
            <a:r>
              <a:rPr lang="en-US" sz="1400">
                <a:solidFill>
                  <a:srgbClr val="374151"/>
                </a:solidFill>
                <a:latin typeface="+mn-lt"/>
                <a:ea typeface="ＭＳ Ｐゴシック"/>
              </a:rPr>
              <a:t>Warner Bros. Entertainment Inc. (Global box Office Sales: $48B)</a:t>
            </a:r>
          </a:p>
          <a:p>
            <a:pPr marL="630238" lvl="1" indent="-173038">
              <a:buFont typeface="Arial" panose="020B0604020202020204" pitchFamily="34" charset="0"/>
              <a:buChar char="•"/>
            </a:pPr>
            <a:r>
              <a:rPr lang="en-US" sz="1400">
                <a:solidFill>
                  <a:srgbClr val="374151"/>
                </a:solidFill>
                <a:latin typeface="+mn-lt"/>
                <a:ea typeface="ＭＳ Ｐゴシック"/>
              </a:rPr>
              <a:t>Universal City Studios LLC (Global Box Office Sales: $47.9B)</a:t>
            </a:r>
          </a:p>
        </p:txBody>
      </p:sp>
    </p:spTree>
    <p:extLst>
      <p:ext uri="{BB962C8B-B14F-4D97-AF65-F5344CB8AC3E}">
        <p14:creationId xmlns:p14="http://schemas.microsoft.com/office/powerpoint/2010/main" val="11848848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D9482C-9809-78C2-DBBB-630F5596988E}"/>
              </a:ext>
            </a:extLst>
          </p:cNvPr>
          <p:cNvSpPr>
            <a:spLocks noGrp="1"/>
          </p:cNvSpPr>
          <p:nvPr>
            <p:ph type="title"/>
          </p:nvPr>
        </p:nvSpPr>
        <p:spPr/>
        <p:txBody>
          <a:bodyPr/>
          <a:lstStyle/>
          <a:p>
            <a:r>
              <a:rPr lang="en-US"/>
              <a:t>Mass Media &amp; Entertainment Domain (2/2)</a:t>
            </a:r>
          </a:p>
        </p:txBody>
      </p:sp>
      <p:sp>
        <p:nvSpPr>
          <p:cNvPr id="3" name="Rectangle 2">
            <a:extLst>
              <a:ext uri="{FF2B5EF4-FFF2-40B4-BE49-F238E27FC236}">
                <a16:creationId xmlns:a16="http://schemas.microsoft.com/office/drawing/2014/main" id="{B86EE26B-A320-1117-C533-672582AFE7DA}"/>
              </a:ext>
            </a:extLst>
          </p:cNvPr>
          <p:cNvSpPr>
            <a:spLocks noChangeArrowheads="1"/>
          </p:cNvSpPr>
          <p:nvPr/>
        </p:nvSpPr>
        <p:spPr bwMode="auto">
          <a:xfrm>
            <a:off x="431855" y="682674"/>
            <a:ext cx="9368383" cy="31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6000" rIns="0" bIns="0" anchor="t"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a:spcBef>
                <a:spcPts val="0"/>
              </a:spcBef>
            </a:pPr>
            <a:r>
              <a:rPr lang="en-US" altLang="ja-JP" sz="1800">
                <a:solidFill>
                  <a:srgbClr val="212121"/>
                </a:solidFill>
                <a:latin typeface="Segoe UI" panose="020B0502040204020203" pitchFamily="34" charset="0"/>
                <a:ea typeface="+mn-ea"/>
                <a:cs typeface="Segoe UI" panose="020B0502040204020203" pitchFamily="34" charset="0"/>
              </a:rPr>
              <a:t>Movie Review Sentiment Analyzer a useful tool for OTT Distributors Original Content creation</a:t>
            </a:r>
            <a:endParaRPr lang="ja-JP" altLang="en-US" sz="1800">
              <a:solidFill>
                <a:srgbClr val="212121"/>
              </a:solidFill>
              <a:latin typeface="Segoe UI" panose="020B0502040204020203" pitchFamily="34" charset="0"/>
              <a:ea typeface="+mn-ea"/>
              <a:cs typeface="Segoe UI" panose="020B0502040204020203" pitchFamily="34" charset="0"/>
            </a:endParaRPr>
          </a:p>
        </p:txBody>
      </p:sp>
      <p:grpSp>
        <p:nvGrpSpPr>
          <p:cNvPr id="98" name="Group 97">
            <a:extLst>
              <a:ext uri="{FF2B5EF4-FFF2-40B4-BE49-F238E27FC236}">
                <a16:creationId xmlns:a16="http://schemas.microsoft.com/office/drawing/2014/main" id="{CC7583B3-2586-E76A-6CA8-5EE00955C31F}"/>
              </a:ext>
            </a:extLst>
          </p:cNvPr>
          <p:cNvGrpSpPr/>
          <p:nvPr/>
        </p:nvGrpSpPr>
        <p:grpSpPr>
          <a:xfrm>
            <a:off x="279987" y="1891930"/>
            <a:ext cx="4971780" cy="4581943"/>
            <a:chOff x="232681" y="1891930"/>
            <a:chExt cx="4971780" cy="4581943"/>
          </a:xfrm>
        </p:grpSpPr>
        <p:sp>
          <p:nvSpPr>
            <p:cNvPr id="52" name="Rectangle 51">
              <a:extLst>
                <a:ext uri="{FF2B5EF4-FFF2-40B4-BE49-F238E27FC236}">
                  <a16:creationId xmlns:a16="http://schemas.microsoft.com/office/drawing/2014/main" id="{E8CD56CA-739E-FFC8-3391-AF8A828C11BD}"/>
                </a:ext>
              </a:extLst>
            </p:cNvPr>
            <p:cNvSpPr/>
            <p:nvPr/>
          </p:nvSpPr>
          <p:spPr bwMode="auto">
            <a:xfrm>
              <a:off x="2123441" y="1891930"/>
              <a:ext cx="3081020" cy="3190589"/>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sp>
          <p:nvSpPr>
            <p:cNvPr id="73" name="Rectangle 72">
              <a:extLst>
                <a:ext uri="{FF2B5EF4-FFF2-40B4-BE49-F238E27FC236}">
                  <a16:creationId xmlns:a16="http://schemas.microsoft.com/office/drawing/2014/main" id="{0B0CFEFC-3C64-163A-6E06-35182CF99097}"/>
                </a:ext>
              </a:extLst>
            </p:cNvPr>
            <p:cNvSpPr/>
            <p:nvPr/>
          </p:nvSpPr>
          <p:spPr bwMode="auto">
            <a:xfrm>
              <a:off x="3450209" y="2355179"/>
              <a:ext cx="1643761" cy="1268033"/>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75" name="TextBox 74">
              <a:extLst>
                <a:ext uri="{FF2B5EF4-FFF2-40B4-BE49-F238E27FC236}">
                  <a16:creationId xmlns:a16="http://schemas.microsoft.com/office/drawing/2014/main" id="{EDE135B7-BE7D-C471-8D4B-C552FBE8878B}"/>
                </a:ext>
              </a:extLst>
            </p:cNvPr>
            <p:cNvSpPr txBox="1"/>
            <p:nvPr/>
          </p:nvSpPr>
          <p:spPr>
            <a:xfrm>
              <a:off x="3581584" y="2395165"/>
              <a:ext cx="1421062" cy="221018"/>
            </a:xfrm>
            <a:prstGeom prst="rect">
              <a:avLst/>
            </a:prstGeom>
            <a:noFill/>
          </p:spPr>
          <p:txBody>
            <a:bodyPr wrap="square" lIns="36000" tIns="36000" rIns="36000" bIns="0" rtlCol="0">
              <a:spAutoFit/>
            </a:bodyPr>
            <a:lstStyle/>
            <a:p>
              <a:r>
                <a:rPr lang="en-US" sz="1200" b="1">
                  <a:latin typeface="+mn-lt"/>
                  <a:ea typeface="+mn-ea"/>
                </a:rPr>
                <a:t>In-House Producer</a:t>
              </a:r>
              <a:endParaRPr kumimoji="1" lang="en-US" sz="1200" b="1">
                <a:latin typeface="+mn-lt"/>
                <a:ea typeface="+mn-ea"/>
              </a:endParaRPr>
            </a:p>
          </p:txBody>
        </p:sp>
        <p:grpSp>
          <p:nvGrpSpPr>
            <p:cNvPr id="21" name="Group 20">
              <a:extLst>
                <a:ext uri="{FF2B5EF4-FFF2-40B4-BE49-F238E27FC236}">
                  <a16:creationId xmlns:a16="http://schemas.microsoft.com/office/drawing/2014/main" id="{9549AFF8-EC6F-3339-9655-AD89A946630B}"/>
                </a:ext>
              </a:extLst>
            </p:cNvPr>
            <p:cNvGrpSpPr/>
            <p:nvPr/>
          </p:nvGrpSpPr>
          <p:grpSpPr>
            <a:xfrm>
              <a:off x="2981057" y="6064853"/>
              <a:ext cx="1311058" cy="409020"/>
              <a:chOff x="8494869" y="5919393"/>
              <a:chExt cx="1311058" cy="785971"/>
            </a:xfrm>
          </p:grpSpPr>
          <p:sp>
            <p:nvSpPr>
              <p:cNvPr id="72" name="Rectangle 71">
                <a:extLst>
                  <a:ext uri="{FF2B5EF4-FFF2-40B4-BE49-F238E27FC236}">
                    <a16:creationId xmlns:a16="http://schemas.microsoft.com/office/drawing/2014/main" id="{C5A03A19-CCC4-1619-1E8F-7BFA37864BC2}"/>
                  </a:ext>
                </a:extLst>
              </p:cNvPr>
              <p:cNvSpPr/>
              <p:nvPr/>
            </p:nvSpPr>
            <p:spPr bwMode="auto">
              <a:xfrm>
                <a:off x="8494869" y="5919393"/>
                <a:ext cx="1311058" cy="785971"/>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77" name="TextBox 76">
                <a:extLst>
                  <a:ext uri="{FF2B5EF4-FFF2-40B4-BE49-F238E27FC236}">
                    <a16:creationId xmlns:a16="http://schemas.microsoft.com/office/drawing/2014/main" id="{8D17EDA9-1791-E364-7E75-1AB06709E60E}"/>
                  </a:ext>
                </a:extLst>
              </p:cNvPr>
              <p:cNvSpPr txBox="1"/>
              <p:nvPr/>
            </p:nvSpPr>
            <p:spPr>
              <a:xfrm>
                <a:off x="8742921" y="6010125"/>
                <a:ext cx="1018876" cy="251794"/>
              </a:xfrm>
              <a:prstGeom prst="rect">
                <a:avLst/>
              </a:prstGeom>
              <a:noFill/>
            </p:spPr>
            <p:txBody>
              <a:bodyPr wrap="square" lIns="36000" tIns="36000" rIns="36000" bIns="0" rtlCol="0">
                <a:spAutoFit/>
              </a:bodyPr>
              <a:lstStyle/>
              <a:p>
                <a:r>
                  <a:rPr lang="en-US" sz="1400" b="1">
                    <a:latin typeface="+mn-lt"/>
                    <a:ea typeface="+mn-ea"/>
                  </a:rPr>
                  <a:t>Audience</a:t>
                </a:r>
                <a:endParaRPr kumimoji="1" lang="en-US" sz="1100">
                  <a:latin typeface="+mn-lt"/>
                  <a:ea typeface="+mn-ea"/>
                </a:endParaRPr>
              </a:p>
            </p:txBody>
          </p:sp>
        </p:grpSp>
        <p:sp>
          <p:nvSpPr>
            <p:cNvPr id="4" name="TextBox 3">
              <a:extLst>
                <a:ext uri="{FF2B5EF4-FFF2-40B4-BE49-F238E27FC236}">
                  <a16:creationId xmlns:a16="http://schemas.microsoft.com/office/drawing/2014/main" id="{6BCDE966-E97A-791B-8865-231AF678F16A}"/>
                </a:ext>
              </a:extLst>
            </p:cNvPr>
            <p:cNvSpPr txBox="1"/>
            <p:nvPr/>
          </p:nvSpPr>
          <p:spPr>
            <a:xfrm>
              <a:off x="3047352" y="1906177"/>
              <a:ext cx="1382390" cy="251795"/>
            </a:xfrm>
            <a:prstGeom prst="rect">
              <a:avLst/>
            </a:prstGeom>
            <a:noFill/>
          </p:spPr>
          <p:txBody>
            <a:bodyPr wrap="square" lIns="36000" tIns="36000" rIns="36000" bIns="0" rtlCol="0">
              <a:spAutoFit/>
            </a:bodyPr>
            <a:lstStyle/>
            <a:p>
              <a:r>
                <a:rPr kumimoji="1" lang="en-US" sz="1400" b="1">
                  <a:latin typeface="+mn-lt"/>
                  <a:ea typeface="+mn-ea"/>
                </a:rPr>
                <a:t>OTT Distributor</a:t>
              </a:r>
            </a:p>
          </p:txBody>
        </p:sp>
        <p:sp>
          <p:nvSpPr>
            <p:cNvPr id="13" name="Rectangle 12">
              <a:extLst>
                <a:ext uri="{FF2B5EF4-FFF2-40B4-BE49-F238E27FC236}">
                  <a16:creationId xmlns:a16="http://schemas.microsoft.com/office/drawing/2014/main" id="{BDD97CC9-B18D-CDFE-4F1E-82756C8FFA00}"/>
                </a:ext>
              </a:extLst>
            </p:cNvPr>
            <p:cNvSpPr/>
            <p:nvPr/>
          </p:nvSpPr>
          <p:spPr bwMode="auto">
            <a:xfrm>
              <a:off x="232681" y="3670227"/>
              <a:ext cx="1102411" cy="1437743"/>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14" name="TextBox 13">
              <a:extLst>
                <a:ext uri="{FF2B5EF4-FFF2-40B4-BE49-F238E27FC236}">
                  <a16:creationId xmlns:a16="http://schemas.microsoft.com/office/drawing/2014/main" id="{86ED8D9F-E166-3C70-0511-75B76D48672E}"/>
                </a:ext>
              </a:extLst>
            </p:cNvPr>
            <p:cNvSpPr txBox="1"/>
            <p:nvPr/>
          </p:nvSpPr>
          <p:spPr>
            <a:xfrm>
              <a:off x="261146" y="3670227"/>
              <a:ext cx="1018876" cy="251795"/>
            </a:xfrm>
            <a:prstGeom prst="rect">
              <a:avLst/>
            </a:prstGeom>
            <a:noFill/>
          </p:spPr>
          <p:txBody>
            <a:bodyPr wrap="square" lIns="36000" tIns="36000" rIns="36000" bIns="0" rtlCol="0">
              <a:spAutoFit/>
            </a:bodyPr>
            <a:lstStyle/>
            <a:p>
              <a:pPr algn="ctr"/>
              <a:r>
                <a:rPr kumimoji="1" lang="en-US" sz="1400" b="1">
                  <a:solidFill>
                    <a:schemeClr val="tx2"/>
                  </a:solidFill>
                  <a:latin typeface="+mn-lt"/>
                  <a:ea typeface="+mn-ea"/>
                </a:rPr>
                <a:t>Producer</a:t>
              </a:r>
            </a:p>
          </p:txBody>
        </p:sp>
        <p:grpSp>
          <p:nvGrpSpPr>
            <p:cNvPr id="16" name="Group 15">
              <a:extLst>
                <a:ext uri="{FF2B5EF4-FFF2-40B4-BE49-F238E27FC236}">
                  <a16:creationId xmlns:a16="http://schemas.microsoft.com/office/drawing/2014/main" id="{7A85338A-BC6A-8865-3ACB-A00D60BA4342}"/>
                </a:ext>
              </a:extLst>
            </p:cNvPr>
            <p:cNvGrpSpPr/>
            <p:nvPr/>
          </p:nvGrpSpPr>
          <p:grpSpPr>
            <a:xfrm>
              <a:off x="2285333" y="3896998"/>
              <a:ext cx="2773698" cy="944242"/>
              <a:chOff x="7671397" y="3652791"/>
              <a:chExt cx="1311058" cy="1598738"/>
            </a:xfrm>
          </p:grpSpPr>
          <p:sp>
            <p:nvSpPr>
              <p:cNvPr id="17" name="Rectangle 16">
                <a:extLst>
                  <a:ext uri="{FF2B5EF4-FFF2-40B4-BE49-F238E27FC236}">
                    <a16:creationId xmlns:a16="http://schemas.microsoft.com/office/drawing/2014/main" id="{EE880E46-8B0F-F359-E1DE-64A52A76CA80}"/>
                  </a:ext>
                </a:extLst>
              </p:cNvPr>
              <p:cNvSpPr/>
              <p:nvPr/>
            </p:nvSpPr>
            <p:spPr bwMode="auto">
              <a:xfrm>
                <a:off x="7671397" y="3673241"/>
                <a:ext cx="1311058" cy="1578288"/>
              </a:xfrm>
              <a:prstGeom prst="rect">
                <a:avLst/>
              </a:prstGeom>
              <a:solidFill>
                <a:schemeClr val="tx2">
                  <a:lumMod val="20000"/>
                  <a:lumOff val="80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200" b="1" i="0" u="none" strike="noStrike" cap="none" normalizeH="0" baseline="0">
                  <a:ln>
                    <a:noFill/>
                  </a:ln>
                  <a:solidFill>
                    <a:schemeClr val="tx2"/>
                  </a:solidFill>
                  <a:effectLst/>
                  <a:latin typeface="+mn-lt"/>
                  <a:ea typeface="+mn-ea"/>
                </a:endParaRPr>
              </a:p>
            </p:txBody>
          </p:sp>
          <p:sp>
            <p:nvSpPr>
              <p:cNvPr id="20" name="TextBox 19">
                <a:extLst>
                  <a:ext uri="{FF2B5EF4-FFF2-40B4-BE49-F238E27FC236}">
                    <a16:creationId xmlns:a16="http://schemas.microsoft.com/office/drawing/2014/main" id="{2053767D-DD50-D5B3-911B-CFC1EB598A88}"/>
                  </a:ext>
                </a:extLst>
              </p:cNvPr>
              <p:cNvSpPr txBox="1"/>
              <p:nvPr/>
            </p:nvSpPr>
            <p:spPr>
              <a:xfrm>
                <a:off x="7737435" y="3652791"/>
                <a:ext cx="1228482" cy="660826"/>
              </a:xfrm>
              <a:prstGeom prst="rect">
                <a:avLst/>
              </a:prstGeom>
              <a:noFill/>
            </p:spPr>
            <p:txBody>
              <a:bodyPr wrap="square" lIns="36000" tIns="36000" rIns="36000" bIns="0" rtlCol="0">
                <a:spAutoFit/>
              </a:bodyPr>
              <a:lstStyle/>
              <a:p>
                <a:r>
                  <a:rPr lang="en-US" sz="1200" b="1">
                    <a:latin typeface="+mn-lt"/>
                    <a:ea typeface="+mn-ea"/>
                  </a:rPr>
                  <a:t>OTT Streaming Platform</a:t>
                </a:r>
                <a:endParaRPr kumimoji="1" lang="en-US" sz="1200" b="1">
                  <a:latin typeface="+mn-lt"/>
                  <a:ea typeface="+mn-ea"/>
                </a:endParaRPr>
              </a:p>
              <a:p>
                <a:endParaRPr kumimoji="1" lang="en-US" sz="1050">
                  <a:latin typeface="+mn-lt"/>
                  <a:ea typeface="+mn-ea"/>
                </a:endParaRPr>
              </a:p>
            </p:txBody>
          </p:sp>
        </p:grpSp>
        <p:sp>
          <p:nvSpPr>
            <p:cNvPr id="27" name="Rectangle 26">
              <a:extLst>
                <a:ext uri="{FF2B5EF4-FFF2-40B4-BE49-F238E27FC236}">
                  <a16:creationId xmlns:a16="http://schemas.microsoft.com/office/drawing/2014/main" id="{079C5BB0-C600-D55F-B82B-A9A00C8AEEFB}"/>
                </a:ext>
              </a:extLst>
            </p:cNvPr>
            <p:cNvSpPr/>
            <p:nvPr/>
          </p:nvSpPr>
          <p:spPr bwMode="auto">
            <a:xfrm>
              <a:off x="2425044" y="4298816"/>
              <a:ext cx="1290976" cy="443364"/>
            </a:xfrm>
            <a:prstGeom prst="rect">
              <a:avLst/>
            </a:prstGeom>
            <a:solidFill>
              <a:schemeClr val="bg1"/>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400" b="0" i="0" u="none" strike="noStrike" cap="none" normalizeH="0" baseline="0">
                  <a:ln>
                    <a:noFill/>
                  </a:ln>
                  <a:effectLst/>
                  <a:latin typeface="+mn-lt"/>
                  <a:ea typeface="+mn-ea"/>
                </a:rPr>
                <a:t>Third-Party </a:t>
              </a:r>
            </a:p>
            <a:p>
              <a:pPr marL="0" marR="0" indent="0" algn="ctr" defTabSz="914400" rtl="0" eaLnBrk="1" fontAlgn="base" latinLnBrk="0" hangingPunct="1">
                <a:lnSpc>
                  <a:spcPct val="100000"/>
                </a:lnSpc>
                <a:spcBef>
                  <a:spcPct val="0"/>
                </a:spcBef>
                <a:spcAft>
                  <a:spcPct val="0"/>
                </a:spcAft>
                <a:buClrTx/>
                <a:buSzTx/>
                <a:buFontTx/>
                <a:buNone/>
                <a:tabLst/>
              </a:pPr>
              <a:r>
                <a:rPr lang="en-US" sz="1400">
                  <a:latin typeface="+mn-lt"/>
                  <a:ea typeface="+mn-ea"/>
                </a:rPr>
                <a:t>C</a:t>
              </a:r>
              <a:r>
                <a:rPr kumimoji="1" lang="en-US" sz="1400" b="0" i="0" u="none" strike="noStrike" cap="none" normalizeH="0" baseline="0">
                  <a:ln>
                    <a:noFill/>
                  </a:ln>
                  <a:effectLst/>
                  <a:latin typeface="+mn-lt"/>
                  <a:ea typeface="+mn-ea"/>
                </a:rPr>
                <a:t>ontent</a:t>
              </a:r>
            </a:p>
          </p:txBody>
        </p:sp>
        <p:cxnSp>
          <p:nvCxnSpPr>
            <p:cNvPr id="30" name="Straight Arrow Connector 29">
              <a:extLst>
                <a:ext uri="{FF2B5EF4-FFF2-40B4-BE49-F238E27FC236}">
                  <a16:creationId xmlns:a16="http://schemas.microsoft.com/office/drawing/2014/main" id="{D2F292FA-DBB0-7D71-CD12-522D228FCF5F}"/>
                </a:ext>
              </a:extLst>
            </p:cNvPr>
            <p:cNvCxnSpPr>
              <a:cxnSpLocks/>
            </p:cNvCxnSpPr>
            <p:nvPr/>
          </p:nvCxnSpPr>
          <p:spPr bwMode="auto">
            <a:xfrm>
              <a:off x="3366619" y="5073289"/>
              <a:ext cx="0" cy="973262"/>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Arrow Connector 31">
              <a:extLst>
                <a:ext uri="{FF2B5EF4-FFF2-40B4-BE49-F238E27FC236}">
                  <a16:creationId xmlns:a16="http://schemas.microsoft.com/office/drawing/2014/main" id="{4A1A2FEA-3767-E982-CBC7-B79186FE185C}"/>
                </a:ext>
              </a:extLst>
            </p:cNvPr>
            <p:cNvCxnSpPr>
              <a:cxnSpLocks/>
            </p:cNvCxnSpPr>
            <p:nvPr/>
          </p:nvCxnSpPr>
          <p:spPr bwMode="auto">
            <a:xfrm flipV="1">
              <a:off x="3833636" y="5082519"/>
              <a:ext cx="0" cy="973262"/>
            </a:xfrm>
            <a:prstGeom prst="straightConnector1">
              <a:avLst/>
            </a:prstGeom>
            <a:solidFill>
              <a:srgbClr val="FF6600"/>
            </a:solidFill>
            <a:ln w="19050" cap="flat" cmpd="sng" algn="ctr">
              <a:solidFill>
                <a:srgbClr val="33CC33"/>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Arrow Connector 34">
              <a:extLst>
                <a:ext uri="{FF2B5EF4-FFF2-40B4-BE49-F238E27FC236}">
                  <a16:creationId xmlns:a16="http://schemas.microsoft.com/office/drawing/2014/main" id="{2CD81BEB-94FE-3DD6-8D92-A857459F936C}"/>
                </a:ext>
              </a:extLst>
            </p:cNvPr>
            <p:cNvCxnSpPr>
              <a:cxnSpLocks/>
            </p:cNvCxnSpPr>
            <p:nvPr/>
          </p:nvCxnSpPr>
          <p:spPr bwMode="auto">
            <a:xfrm>
              <a:off x="1335092" y="4439757"/>
              <a:ext cx="1089952" cy="0"/>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Arrow Connector 36">
              <a:extLst>
                <a:ext uri="{FF2B5EF4-FFF2-40B4-BE49-F238E27FC236}">
                  <a16:creationId xmlns:a16="http://schemas.microsoft.com/office/drawing/2014/main" id="{C4300AE6-141B-795F-01F7-3C717197825C}"/>
                </a:ext>
              </a:extLst>
            </p:cNvPr>
            <p:cNvCxnSpPr>
              <a:cxnSpLocks/>
            </p:cNvCxnSpPr>
            <p:nvPr/>
          </p:nvCxnSpPr>
          <p:spPr bwMode="auto">
            <a:xfrm flipH="1">
              <a:off x="1335092" y="4666049"/>
              <a:ext cx="788348" cy="0"/>
            </a:xfrm>
            <a:prstGeom prst="straightConnector1">
              <a:avLst/>
            </a:prstGeom>
            <a:solidFill>
              <a:srgbClr val="FF6600"/>
            </a:solidFill>
            <a:ln w="19050" cap="flat" cmpd="sng" algn="ctr">
              <a:solidFill>
                <a:srgbClr val="33CC33"/>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9" name="Group 58">
              <a:extLst>
                <a:ext uri="{FF2B5EF4-FFF2-40B4-BE49-F238E27FC236}">
                  <a16:creationId xmlns:a16="http://schemas.microsoft.com/office/drawing/2014/main" id="{7F1FFF29-9510-B4A6-AAE0-FF1F1FACC38A}"/>
                </a:ext>
              </a:extLst>
            </p:cNvPr>
            <p:cNvGrpSpPr/>
            <p:nvPr/>
          </p:nvGrpSpPr>
          <p:grpSpPr>
            <a:xfrm>
              <a:off x="4017458" y="4267230"/>
              <a:ext cx="1131782" cy="474952"/>
              <a:chOff x="3578791" y="3949065"/>
              <a:chExt cx="1593028" cy="390908"/>
            </a:xfrm>
          </p:grpSpPr>
          <p:sp>
            <p:nvSpPr>
              <p:cNvPr id="28" name="Rectangle 27">
                <a:extLst>
                  <a:ext uri="{FF2B5EF4-FFF2-40B4-BE49-F238E27FC236}">
                    <a16:creationId xmlns:a16="http://schemas.microsoft.com/office/drawing/2014/main" id="{074FC006-B08A-C260-8F1C-EF5BDDFA5D19}"/>
                  </a:ext>
                </a:extLst>
              </p:cNvPr>
              <p:cNvSpPr/>
              <p:nvPr/>
            </p:nvSpPr>
            <p:spPr bwMode="auto">
              <a:xfrm>
                <a:off x="3578791" y="3975064"/>
                <a:ext cx="1374203" cy="364909"/>
              </a:xfrm>
              <a:prstGeom prst="rect">
                <a:avLst/>
              </a:prstGeom>
              <a:solidFill>
                <a:schemeClr val="bg1"/>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sp>
            <p:nvSpPr>
              <p:cNvPr id="58" name="TextBox 57">
                <a:extLst>
                  <a:ext uri="{FF2B5EF4-FFF2-40B4-BE49-F238E27FC236}">
                    <a16:creationId xmlns:a16="http://schemas.microsoft.com/office/drawing/2014/main" id="{301D4BE1-AC57-48CD-A990-EC769481884D}"/>
                  </a:ext>
                </a:extLst>
              </p:cNvPr>
              <p:cNvSpPr txBox="1"/>
              <p:nvPr/>
            </p:nvSpPr>
            <p:spPr>
              <a:xfrm>
                <a:off x="3797611" y="3949065"/>
                <a:ext cx="1374208" cy="251795"/>
              </a:xfrm>
              <a:prstGeom prst="rect">
                <a:avLst/>
              </a:prstGeom>
              <a:noFill/>
            </p:spPr>
            <p:txBody>
              <a:bodyPr wrap="square" lIns="36000" tIns="36000" rIns="36000" bIns="0" rtlCol="0">
                <a:spAutoFit/>
              </a:bodyPr>
              <a:lstStyle/>
              <a:p>
                <a:r>
                  <a:rPr kumimoji="1" lang="en-US" sz="1400">
                    <a:latin typeface="+mn-lt"/>
                    <a:ea typeface="+mn-ea"/>
                  </a:rPr>
                  <a:t>Original Content</a:t>
                </a:r>
              </a:p>
            </p:txBody>
          </p:sp>
        </p:grpSp>
        <p:cxnSp>
          <p:nvCxnSpPr>
            <p:cNvPr id="60" name="Straight Arrow Connector 59">
              <a:extLst>
                <a:ext uri="{FF2B5EF4-FFF2-40B4-BE49-F238E27FC236}">
                  <a16:creationId xmlns:a16="http://schemas.microsoft.com/office/drawing/2014/main" id="{BEAD008C-1622-290C-8367-0605B7119C04}"/>
                </a:ext>
              </a:extLst>
            </p:cNvPr>
            <p:cNvCxnSpPr>
              <a:cxnSpLocks/>
            </p:cNvCxnSpPr>
            <p:nvPr/>
          </p:nvCxnSpPr>
          <p:spPr bwMode="auto">
            <a:xfrm>
              <a:off x="4538793" y="3623212"/>
              <a:ext cx="0" cy="664081"/>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3" name="Rectangle 62">
              <a:extLst>
                <a:ext uri="{FF2B5EF4-FFF2-40B4-BE49-F238E27FC236}">
                  <a16:creationId xmlns:a16="http://schemas.microsoft.com/office/drawing/2014/main" id="{BA635195-BCF6-2392-0F0E-694BA74849D6}"/>
                </a:ext>
              </a:extLst>
            </p:cNvPr>
            <p:cNvSpPr/>
            <p:nvPr/>
          </p:nvSpPr>
          <p:spPr bwMode="auto">
            <a:xfrm>
              <a:off x="3519625" y="2652075"/>
              <a:ext cx="1504415" cy="892349"/>
            </a:xfrm>
            <a:prstGeom prst="rect">
              <a:avLst/>
            </a:prstGeom>
            <a:solidFill>
              <a:schemeClr val="bg1"/>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sp>
          <p:nvSpPr>
            <p:cNvPr id="48" name="TextBox 47">
              <a:extLst>
                <a:ext uri="{FF2B5EF4-FFF2-40B4-BE49-F238E27FC236}">
                  <a16:creationId xmlns:a16="http://schemas.microsoft.com/office/drawing/2014/main" id="{3399B56E-A326-7D3A-ACC4-1E3EF0518574}"/>
                </a:ext>
              </a:extLst>
            </p:cNvPr>
            <p:cNvSpPr txBox="1"/>
            <p:nvPr/>
          </p:nvSpPr>
          <p:spPr>
            <a:xfrm>
              <a:off x="3605412" y="2642048"/>
              <a:ext cx="1305445" cy="882737"/>
            </a:xfrm>
            <a:prstGeom prst="rect">
              <a:avLst/>
            </a:prstGeom>
            <a:noFill/>
          </p:spPr>
          <p:txBody>
            <a:bodyPr wrap="square" lIns="36000" tIns="36000" rIns="36000" bIns="0" rtlCol="0">
              <a:spAutoFit/>
            </a:bodyPr>
            <a:lstStyle/>
            <a:p>
              <a:r>
                <a:rPr kumimoji="1" lang="en-US" sz="1100">
                  <a:latin typeface="+mn-lt"/>
                  <a:ea typeface="+mn-ea"/>
                </a:rPr>
                <a:t>Key Resource: Content</a:t>
              </a:r>
            </a:p>
            <a:p>
              <a:endParaRPr kumimoji="1" lang="en-US" sz="1100">
                <a:latin typeface="+mn-lt"/>
                <a:ea typeface="+mn-ea"/>
              </a:endParaRPr>
            </a:p>
            <a:p>
              <a:r>
                <a:rPr lang="en-US" sz="1100">
                  <a:latin typeface="+mn-lt"/>
                  <a:ea typeface="+mn-ea"/>
                </a:rPr>
                <a:t>Cost: Production Costs</a:t>
              </a:r>
              <a:endParaRPr kumimoji="1" lang="en-US" sz="1100">
                <a:latin typeface="+mn-lt"/>
                <a:ea typeface="+mn-ea"/>
              </a:endParaRPr>
            </a:p>
          </p:txBody>
        </p:sp>
        <p:sp>
          <p:nvSpPr>
            <p:cNvPr id="84" name="TextBox 83">
              <a:extLst>
                <a:ext uri="{FF2B5EF4-FFF2-40B4-BE49-F238E27FC236}">
                  <a16:creationId xmlns:a16="http://schemas.microsoft.com/office/drawing/2014/main" id="{3542FE65-F3DA-1FE9-7233-BBAC63A17A5C}"/>
                </a:ext>
              </a:extLst>
            </p:cNvPr>
            <p:cNvSpPr txBox="1"/>
            <p:nvPr/>
          </p:nvSpPr>
          <p:spPr>
            <a:xfrm>
              <a:off x="1474803" y="4210412"/>
              <a:ext cx="654839" cy="190240"/>
            </a:xfrm>
            <a:prstGeom prst="rect">
              <a:avLst/>
            </a:prstGeom>
            <a:noFill/>
          </p:spPr>
          <p:txBody>
            <a:bodyPr wrap="square" lIns="36000" tIns="36000" rIns="36000" bIns="0" rtlCol="0">
              <a:spAutoFit/>
            </a:bodyPr>
            <a:lstStyle/>
            <a:p>
              <a:r>
                <a:rPr lang="en-US" sz="1000">
                  <a:solidFill>
                    <a:schemeClr val="tx2"/>
                  </a:solidFill>
                  <a:latin typeface="+mn-lt"/>
                  <a:ea typeface="+mn-ea"/>
                </a:rPr>
                <a:t>Contract</a:t>
              </a:r>
              <a:endParaRPr kumimoji="1" lang="en-US" sz="1000">
                <a:solidFill>
                  <a:schemeClr val="tx2"/>
                </a:solidFill>
                <a:latin typeface="+mn-lt"/>
                <a:ea typeface="+mn-ea"/>
              </a:endParaRPr>
            </a:p>
          </p:txBody>
        </p:sp>
        <p:sp>
          <p:nvSpPr>
            <p:cNvPr id="85" name="TextBox 84">
              <a:extLst>
                <a:ext uri="{FF2B5EF4-FFF2-40B4-BE49-F238E27FC236}">
                  <a16:creationId xmlns:a16="http://schemas.microsoft.com/office/drawing/2014/main" id="{289500D4-D836-53A0-2B18-EED9F010C19E}"/>
                </a:ext>
              </a:extLst>
            </p:cNvPr>
            <p:cNvSpPr txBox="1"/>
            <p:nvPr/>
          </p:nvSpPr>
          <p:spPr>
            <a:xfrm>
              <a:off x="1574375" y="4656502"/>
              <a:ext cx="355484" cy="205629"/>
            </a:xfrm>
            <a:prstGeom prst="rect">
              <a:avLst/>
            </a:prstGeom>
            <a:noFill/>
          </p:spPr>
          <p:txBody>
            <a:bodyPr wrap="square" lIns="36000" tIns="36000" rIns="36000" bIns="0" rtlCol="0">
              <a:spAutoFit/>
            </a:bodyPr>
            <a:lstStyle/>
            <a:p>
              <a:r>
                <a:rPr lang="en-US" sz="1100">
                  <a:solidFill>
                    <a:schemeClr val="tx2"/>
                  </a:solidFill>
                  <a:latin typeface="+mn-lt"/>
                  <a:ea typeface="+mn-ea"/>
                </a:rPr>
                <a:t>Fees</a:t>
              </a:r>
              <a:endParaRPr kumimoji="1" lang="en-US" sz="1100">
                <a:solidFill>
                  <a:schemeClr val="tx2"/>
                </a:solidFill>
                <a:latin typeface="+mn-lt"/>
                <a:ea typeface="+mn-ea"/>
              </a:endParaRPr>
            </a:p>
          </p:txBody>
        </p:sp>
        <p:sp>
          <p:nvSpPr>
            <p:cNvPr id="86" name="TextBox 85">
              <a:extLst>
                <a:ext uri="{FF2B5EF4-FFF2-40B4-BE49-F238E27FC236}">
                  <a16:creationId xmlns:a16="http://schemas.microsoft.com/office/drawing/2014/main" id="{FDD85F94-83A5-2DBD-C3FF-C76E6791A6EB}"/>
                </a:ext>
              </a:extLst>
            </p:cNvPr>
            <p:cNvSpPr txBox="1"/>
            <p:nvPr/>
          </p:nvSpPr>
          <p:spPr>
            <a:xfrm rot="16200000">
              <a:off x="3490770" y="5461720"/>
              <a:ext cx="865250" cy="205629"/>
            </a:xfrm>
            <a:prstGeom prst="rect">
              <a:avLst/>
            </a:prstGeom>
            <a:noFill/>
          </p:spPr>
          <p:txBody>
            <a:bodyPr wrap="square" lIns="36000" tIns="36000" rIns="36000" bIns="0" rtlCol="0">
              <a:spAutoFit/>
            </a:bodyPr>
            <a:lstStyle/>
            <a:p>
              <a:r>
                <a:rPr lang="en-US" sz="1100">
                  <a:solidFill>
                    <a:schemeClr val="tx2"/>
                  </a:solidFill>
                  <a:latin typeface="+mn-lt"/>
                  <a:ea typeface="+mn-ea"/>
                </a:rPr>
                <a:t>Subscription</a:t>
              </a:r>
              <a:endParaRPr kumimoji="1" lang="en-US" sz="1100">
                <a:solidFill>
                  <a:schemeClr val="tx2"/>
                </a:solidFill>
                <a:latin typeface="+mn-lt"/>
                <a:ea typeface="+mn-ea"/>
              </a:endParaRPr>
            </a:p>
          </p:txBody>
        </p:sp>
        <p:sp>
          <p:nvSpPr>
            <p:cNvPr id="87" name="TextBox 86">
              <a:extLst>
                <a:ext uri="{FF2B5EF4-FFF2-40B4-BE49-F238E27FC236}">
                  <a16:creationId xmlns:a16="http://schemas.microsoft.com/office/drawing/2014/main" id="{A0D88AEA-EFAC-7709-C468-EA5A72F64D61}"/>
                </a:ext>
              </a:extLst>
            </p:cNvPr>
            <p:cNvSpPr txBox="1"/>
            <p:nvPr/>
          </p:nvSpPr>
          <p:spPr>
            <a:xfrm rot="16200000">
              <a:off x="2904304" y="5377082"/>
              <a:ext cx="865250" cy="374906"/>
            </a:xfrm>
            <a:prstGeom prst="rect">
              <a:avLst/>
            </a:prstGeom>
            <a:noFill/>
          </p:spPr>
          <p:txBody>
            <a:bodyPr wrap="square" lIns="36000" tIns="36000" rIns="36000" bIns="0" rtlCol="0">
              <a:spAutoFit/>
            </a:bodyPr>
            <a:lstStyle/>
            <a:p>
              <a:pPr algn="ctr"/>
              <a:r>
                <a:rPr lang="en-US" sz="1100">
                  <a:solidFill>
                    <a:schemeClr val="tx2"/>
                  </a:solidFill>
                  <a:latin typeface="+mn-lt"/>
                  <a:ea typeface="+mn-ea"/>
                </a:rPr>
                <a:t>On Demand Content</a:t>
              </a:r>
              <a:endParaRPr kumimoji="1" lang="en-US" sz="1100">
                <a:solidFill>
                  <a:schemeClr val="tx2"/>
                </a:solidFill>
                <a:latin typeface="+mn-lt"/>
                <a:ea typeface="+mn-ea"/>
              </a:endParaRPr>
            </a:p>
          </p:txBody>
        </p:sp>
        <p:grpSp>
          <p:nvGrpSpPr>
            <p:cNvPr id="89" name="Group 88">
              <a:extLst>
                <a:ext uri="{FF2B5EF4-FFF2-40B4-BE49-F238E27FC236}">
                  <a16:creationId xmlns:a16="http://schemas.microsoft.com/office/drawing/2014/main" id="{4C71C17B-61F4-D4A2-E6B3-999A8580F5A7}"/>
                </a:ext>
              </a:extLst>
            </p:cNvPr>
            <p:cNvGrpSpPr/>
            <p:nvPr/>
          </p:nvGrpSpPr>
          <p:grpSpPr>
            <a:xfrm>
              <a:off x="275696" y="3950315"/>
              <a:ext cx="999200" cy="1093399"/>
              <a:chOff x="275696" y="4086244"/>
              <a:chExt cx="999200" cy="1093399"/>
            </a:xfrm>
          </p:grpSpPr>
          <p:sp>
            <p:nvSpPr>
              <p:cNvPr id="88" name="Rectangle 87">
                <a:extLst>
                  <a:ext uri="{FF2B5EF4-FFF2-40B4-BE49-F238E27FC236}">
                    <a16:creationId xmlns:a16="http://schemas.microsoft.com/office/drawing/2014/main" id="{AB578EDD-816F-35BB-FE77-B370CEF9990D}"/>
                  </a:ext>
                </a:extLst>
              </p:cNvPr>
              <p:cNvSpPr/>
              <p:nvPr/>
            </p:nvSpPr>
            <p:spPr bwMode="auto">
              <a:xfrm>
                <a:off x="275696" y="4086245"/>
                <a:ext cx="999200" cy="1093398"/>
              </a:xfrm>
              <a:prstGeom prst="rect">
                <a:avLst/>
              </a:prstGeom>
              <a:solidFill>
                <a:schemeClr val="bg1"/>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sp>
            <p:nvSpPr>
              <p:cNvPr id="12" name="TextBox 11">
                <a:extLst>
                  <a:ext uri="{FF2B5EF4-FFF2-40B4-BE49-F238E27FC236}">
                    <a16:creationId xmlns:a16="http://schemas.microsoft.com/office/drawing/2014/main" id="{C30DE5CE-97D0-A9EF-1F20-C64724617098}"/>
                  </a:ext>
                </a:extLst>
              </p:cNvPr>
              <p:cNvSpPr txBox="1"/>
              <p:nvPr/>
            </p:nvSpPr>
            <p:spPr>
              <a:xfrm>
                <a:off x="281735" y="4086244"/>
                <a:ext cx="962915" cy="1052014"/>
              </a:xfrm>
              <a:prstGeom prst="rect">
                <a:avLst/>
              </a:prstGeom>
              <a:noFill/>
            </p:spPr>
            <p:txBody>
              <a:bodyPr wrap="square" lIns="36000" tIns="36000" rIns="36000" bIns="0" rtlCol="0">
                <a:spAutoFit/>
              </a:bodyPr>
              <a:lstStyle/>
              <a:p>
                <a:r>
                  <a:rPr kumimoji="1" lang="en-US" sz="1100">
                    <a:latin typeface="+mn-lt"/>
                    <a:ea typeface="+mn-ea"/>
                  </a:rPr>
                  <a:t>Key Resource: Content</a:t>
                </a:r>
              </a:p>
              <a:p>
                <a:endParaRPr kumimoji="1" lang="en-US" sz="1100">
                  <a:latin typeface="+mn-lt"/>
                  <a:ea typeface="+mn-ea"/>
                </a:endParaRPr>
              </a:p>
              <a:p>
                <a:r>
                  <a:rPr lang="en-US" sz="1100">
                    <a:latin typeface="+mn-lt"/>
                    <a:ea typeface="+mn-ea"/>
                  </a:rPr>
                  <a:t>Cost: Production Costs</a:t>
                </a:r>
                <a:endParaRPr kumimoji="1" lang="en-US" sz="1100">
                  <a:latin typeface="+mn-lt"/>
                  <a:ea typeface="+mn-ea"/>
                </a:endParaRPr>
              </a:p>
            </p:txBody>
          </p:sp>
        </p:grpSp>
        <p:grpSp>
          <p:nvGrpSpPr>
            <p:cNvPr id="90" name="Group 89">
              <a:extLst>
                <a:ext uri="{FF2B5EF4-FFF2-40B4-BE49-F238E27FC236}">
                  <a16:creationId xmlns:a16="http://schemas.microsoft.com/office/drawing/2014/main" id="{BD486A96-D003-5D54-FCF3-3E0CCB22CB3B}"/>
                </a:ext>
              </a:extLst>
            </p:cNvPr>
            <p:cNvGrpSpPr/>
            <p:nvPr/>
          </p:nvGrpSpPr>
          <p:grpSpPr>
            <a:xfrm>
              <a:off x="269446" y="5484752"/>
              <a:ext cx="1588839" cy="785496"/>
              <a:chOff x="196318" y="4671886"/>
              <a:chExt cx="1588839" cy="785496"/>
            </a:xfrm>
          </p:grpSpPr>
          <p:sp>
            <p:nvSpPr>
              <p:cNvPr id="91" name="Rectangle 90">
                <a:extLst>
                  <a:ext uri="{FF2B5EF4-FFF2-40B4-BE49-F238E27FC236}">
                    <a16:creationId xmlns:a16="http://schemas.microsoft.com/office/drawing/2014/main" id="{BBB1BA90-A7E0-EE38-B7B5-489B70C5AC35}"/>
                  </a:ext>
                </a:extLst>
              </p:cNvPr>
              <p:cNvSpPr/>
              <p:nvPr/>
            </p:nvSpPr>
            <p:spPr bwMode="auto">
              <a:xfrm>
                <a:off x="196318" y="4671886"/>
                <a:ext cx="1588839" cy="785496"/>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grpSp>
            <p:nvGrpSpPr>
              <p:cNvPr id="92" name="Group 91">
                <a:extLst>
                  <a:ext uri="{FF2B5EF4-FFF2-40B4-BE49-F238E27FC236}">
                    <a16:creationId xmlns:a16="http://schemas.microsoft.com/office/drawing/2014/main" id="{95DEC2E5-D931-7774-8E61-A893FB413B95}"/>
                  </a:ext>
                </a:extLst>
              </p:cNvPr>
              <p:cNvGrpSpPr/>
              <p:nvPr/>
            </p:nvGrpSpPr>
            <p:grpSpPr>
              <a:xfrm>
                <a:off x="286112" y="4758062"/>
                <a:ext cx="1320413" cy="251795"/>
                <a:chOff x="286112" y="4758062"/>
                <a:chExt cx="1320413" cy="251795"/>
              </a:xfrm>
            </p:grpSpPr>
            <p:cxnSp>
              <p:nvCxnSpPr>
                <p:cNvPr id="96" name="Straight Arrow Connector 95">
                  <a:extLst>
                    <a:ext uri="{FF2B5EF4-FFF2-40B4-BE49-F238E27FC236}">
                      <a16:creationId xmlns:a16="http://schemas.microsoft.com/office/drawing/2014/main" id="{A03BFEC8-8410-5FA8-FB0E-5B595A5CB686}"/>
                    </a:ext>
                  </a:extLst>
                </p:cNvPr>
                <p:cNvCxnSpPr/>
                <p:nvPr/>
              </p:nvCxnSpPr>
              <p:spPr bwMode="auto">
                <a:xfrm>
                  <a:off x="286112" y="4915267"/>
                  <a:ext cx="327346" cy="0"/>
                </a:xfrm>
                <a:prstGeom prst="straightConnector1">
                  <a:avLst/>
                </a:prstGeom>
                <a:solidFill>
                  <a:srgbClr val="FF6600"/>
                </a:solidFill>
                <a:ln w="19050" cap="flat" cmpd="sng" algn="ctr">
                  <a:solidFill>
                    <a:srgbClr val="33CC33"/>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7" name="TextBox 96">
                  <a:extLst>
                    <a:ext uri="{FF2B5EF4-FFF2-40B4-BE49-F238E27FC236}">
                      <a16:creationId xmlns:a16="http://schemas.microsoft.com/office/drawing/2014/main" id="{ADD2F03A-248E-4589-650F-6877D8519786}"/>
                    </a:ext>
                  </a:extLst>
                </p:cNvPr>
                <p:cNvSpPr txBox="1"/>
                <p:nvPr/>
              </p:nvSpPr>
              <p:spPr>
                <a:xfrm>
                  <a:off x="641986" y="4758062"/>
                  <a:ext cx="964539" cy="251795"/>
                </a:xfrm>
                <a:prstGeom prst="rect">
                  <a:avLst/>
                </a:prstGeom>
                <a:noFill/>
              </p:spPr>
              <p:txBody>
                <a:bodyPr wrap="square" lIns="36000" tIns="36000" rIns="36000" bIns="0" rtlCol="0">
                  <a:spAutoFit/>
                </a:bodyPr>
                <a:lstStyle/>
                <a:p>
                  <a:r>
                    <a:rPr kumimoji="1" lang="en-US" sz="1400">
                      <a:latin typeface="+mn-lt"/>
                      <a:ea typeface="+mn-ea"/>
                    </a:rPr>
                    <a:t>: Revenue</a:t>
                  </a:r>
                </a:p>
              </p:txBody>
            </p:sp>
          </p:grpSp>
          <p:grpSp>
            <p:nvGrpSpPr>
              <p:cNvPr id="93" name="Group 92">
                <a:extLst>
                  <a:ext uri="{FF2B5EF4-FFF2-40B4-BE49-F238E27FC236}">
                    <a16:creationId xmlns:a16="http://schemas.microsoft.com/office/drawing/2014/main" id="{A0CFD9F6-E358-BA79-E303-29141873A996}"/>
                  </a:ext>
                </a:extLst>
              </p:cNvPr>
              <p:cNvGrpSpPr/>
              <p:nvPr/>
            </p:nvGrpSpPr>
            <p:grpSpPr>
              <a:xfrm>
                <a:off x="286112" y="5077453"/>
                <a:ext cx="1330573" cy="251795"/>
                <a:chOff x="286112" y="5077453"/>
                <a:chExt cx="1330573" cy="251795"/>
              </a:xfrm>
            </p:grpSpPr>
            <p:sp>
              <p:nvSpPr>
                <p:cNvPr id="94" name="TextBox 93">
                  <a:extLst>
                    <a:ext uri="{FF2B5EF4-FFF2-40B4-BE49-F238E27FC236}">
                      <a16:creationId xmlns:a16="http://schemas.microsoft.com/office/drawing/2014/main" id="{E9354C47-6FC0-73AD-FE2F-068495A7017B}"/>
                    </a:ext>
                  </a:extLst>
                </p:cNvPr>
                <p:cNvSpPr txBox="1"/>
                <p:nvPr/>
              </p:nvSpPr>
              <p:spPr>
                <a:xfrm>
                  <a:off x="652146" y="5077453"/>
                  <a:ext cx="964539" cy="251795"/>
                </a:xfrm>
                <a:prstGeom prst="rect">
                  <a:avLst/>
                </a:prstGeom>
                <a:noFill/>
              </p:spPr>
              <p:txBody>
                <a:bodyPr wrap="square" lIns="36000" tIns="36000" rIns="36000" bIns="0" rtlCol="0">
                  <a:spAutoFit/>
                </a:bodyPr>
                <a:lstStyle/>
                <a:p>
                  <a:r>
                    <a:rPr kumimoji="1" lang="en-US" sz="1400">
                      <a:latin typeface="+mn-lt"/>
                      <a:ea typeface="+mn-ea"/>
                    </a:rPr>
                    <a:t>: Content</a:t>
                  </a:r>
                </a:p>
              </p:txBody>
            </p:sp>
            <p:cxnSp>
              <p:nvCxnSpPr>
                <p:cNvPr id="95" name="Straight Arrow Connector 94">
                  <a:extLst>
                    <a:ext uri="{FF2B5EF4-FFF2-40B4-BE49-F238E27FC236}">
                      <a16:creationId xmlns:a16="http://schemas.microsoft.com/office/drawing/2014/main" id="{60EBD623-275F-1F67-CA09-068362CD367B}"/>
                    </a:ext>
                  </a:extLst>
                </p:cNvPr>
                <p:cNvCxnSpPr/>
                <p:nvPr/>
              </p:nvCxnSpPr>
              <p:spPr bwMode="auto">
                <a:xfrm>
                  <a:off x="286112" y="5203350"/>
                  <a:ext cx="327346" cy="0"/>
                </a:xfrm>
                <a:prstGeom prst="straightConnector1">
                  <a:avLst/>
                </a:prstGeom>
                <a:solidFill>
                  <a:srgbClr val="FF6600"/>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grpSp>
        <p:nvGrpSpPr>
          <p:cNvPr id="99" name="グループ化 3">
            <a:extLst>
              <a:ext uri="{FF2B5EF4-FFF2-40B4-BE49-F238E27FC236}">
                <a16:creationId xmlns:a16="http://schemas.microsoft.com/office/drawing/2014/main" id="{E9967969-1481-D538-75F0-CF81427076B8}"/>
              </a:ext>
            </a:extLst>
          </p:cNvPr>
          <p:cNvGrpSpPr/>
          <p:nvPr/>
        </p:nvGrpSpPr>
        <p:grpSpPr>
          <a:xfrm>
            <a:off x="5662671" y="1317788"/>
            <a:ext cx="4056285" cy="299820"/>
            <a:chOff x="1016089" y="1463948"/>
            <a:chExt cx="2016000" cy="318925"/>
          </a:xfrm>
        </p:grpSpPr>
        <p:sp>
          <p:nvSpPr>
            <p:cNvPr id="100" name="Rectangle 2">
              <a:extLst>
                <a:ext uri="{FF2B5EF4-FFF2-40B4-BE49-F238E27FC236}">
                  <a16:creationId xmlns:a16="http://schemas.microsoft.com/office/drawing/2014/main" id="{75A11948-DF9E-5E7A-4C4A-82473A6F942F}"/>
                </a:ext>
              </a:extLst>
            </p:cNvPr>
            <p:cNvSpPr>
              <a:spLocks noChangeArrowheads="1"/>
            </p:cNvSpPr>
            <p:nvPr/>
          </p:nvSpPr>
          <p:spPr bwMode="auto">
            <a:xfrm>
              <a:off x="1848398" y="1463948"/>
              <a:ext cx="351395" cy="318924"/>
            </a:xfrm>
            <a:prstGeom prst="rect">
              <a:avLst/>
            </a:prstGeom>
            <a:noFill/>
            <a:ln w="9525">
              <a:noFill/>
              <a:miter lim="800000"/>
              <a:headEnd/>
              <a:tailEnd/>
            </a:ln>
            <a:effectLst/>
          </p:spPr>
          <p:txBody>
            <a:bodyPr wrap="none" lIns="36000" tIns="36000" rIns="36000" bIns="36000" anchor="b"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1600" b="1" i="0" u="none" strike="noStrike" kern="1200" cap="none" spc="0" normalizeH="0" baseline="0" noProof="0">
                  <a:ln>
                    <a:noFill/>
                  </a:ln>
                  <a:solidFill>
                    <a:srgbClr val="4A4A4A"/>
                  </a:solidFill>
                  <a:effectLst/>
                  <a:uLnTx/>
                  <a:uFillTx/>
                  <a:latin typeface="+mj-lt"/>
                  <a:ea typeface="Meiryo UI"/>
                </a:rPr>
                <a:t>Details</a:t>
              </a:r>
              <a:endParaRPr kumimoji="1" lang="ja-JP" altLang="en-US" sz="1600" b="1" i="0" u="none" strike="noStrike" kern="1200" cap="none" spc="0" normalizeH="0" baseline="0" noProof="0">
                <a:ln>
                  <a:noFill/>
                </a:ln>
                <a:solidFill>
                  <a:srgbClr val="4A4A4A"/>
                </a:solidFill>
                <a:effectLst/>
                <a:uLnTx/>
                <a:uFillTx/>
                <a:latin typeface="+mj-lt"/>
                <a:ea typeface="Meiryo UI"/>
              </a:endParaRPr>
            </a:p>
          </p:txBody>
        </p:sp>
        <p:cxnSp>
          <p:nvCxnSpPr>
            <p:cNvPr id="101" name="直線コネクタ 4">
              <a:extLst>
                <a:ext uri="{FF2B5EF4-FFF2-40B4-BE49-F238E27FC236}">
                  <a16:creationId xmlns:a16="http://schemas.microsoft.com/office/drawing/2014/main" id="{881CDB23-163C-FDFC-5534-97669D9029AA}"/>
                </a:ext>
              </a:extLst>
            </p:cNvPr>
            <p:cNvCxnSpPr/>
            <p:nvPr/>
          </p:nvCxnSpPr>
          <p:spPr bwMode="auto">
            <a:xfrm>
              <a:off x="1016089" y="1782873"/>
              <a:ext cx="2016000" cy="0"/>
            </a:xfrm>
            <a:prstGeom prst="line">
              <a:avLst/>
            </a:prstGeom>
            <a:solidFill>
              <a:srgbClr val="FF6600"/>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02" name="Rectangle 101">
            <a:extLst>
              <a:ext uri="{FF2B5EF4-FFF2-40B4-BE49-F238E27FC236}">
                <a16:creationId xmlns:a16="http://schemas.microsoft.com/office/drawing/2014/main" id="{74EAB6AF-BE04-0ACA-93E5-1EF650900B86}"/>
              </a:ext>
            </a:extLst>
          </p:cNvPr>
          <p:cNvSpPr/>
          <p:nvPr/>
        </p:nvSpPr>
        <p:spPr bwMode="auto">
          <a:xfrm>
            <a:off x="5662671" y="1714611"/>
            <a:ext cx="452061" cy="3268001"/>
          </a:xfrm>
          <a:prstGeom prst="rect">
            <a:avLst/>
          </a:prstGeom>
          <a:solidFill>
            <a:schemeClr val="tx2"/>
          </a:solidFill>
          <a:ln w="12700" cap="flat" cmpd="sng" algn="ctr">
            <a:noFill/>
            <a:prstDash val="solid"/>
            <a:round/>
            <a:headEnd type="none" w="med" len="med"/>
            <a:tailEnd type="none" w="med" len="med"/>
          </a:ln>
          <a:effectLst/>
        </p:spPr>
        <p:txBody>
          <a:bodyPr vert="vert270"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400" b="0" i="0" u="none" strike="noStrike" cap="none" normalizeH="0" baseline="0">
                <a:ln>
                  <a:noFill/>
                </a:ln>
                <a:solidFill>
                  <a:schemeClr val="bg1"/>
                </a:solidFill>
                <a:effectLst/>
                <a:latin typeface="+mn-lt"/>
                <a:ea typeface="+mn-ea"/>
              </a:rPr>
              <a:t>Description</a:t>
            </a:r>
          </a:p>
        </p:txBody>
      </p:sp>
      <p:sp>
        <p:nvSpPr>
          <p:cNvPr id="103" name="TextBox 102">
            <a:extLst>
              <a:ext uri="{FF2B5EF4-FFF2-40B4-BE49-F238E27FC236}">
                <a16:creationId xmlns:a16="http://schemas.microsoft.com/office/drawing/2014/main" id="{31E6B5D2-5279-5E1A-7C26-E0A4AB64235F}"/>
              </a:ext>
            </a:extLst>
          </p:cNvPr>
          <p:cNvSpPr txBox="1"/>
          <p:nvPr/>
        </p:nvSpPr>
        <p:spPr>
          <a:xfrm>
            <a:off x="6154318" y="1714613"/>
            <a:ext cx="3547393" cy="3268005"/>
          </a:xfrm>
          <a:prstGeom prst="rect">
            <a:avLst/>
          </a:prstGeom>
          <a:noFill/>
        </p:spPr>
        <p:txBody>
          <a:bodyPr wrap="square" lIns="36000" tIns="36000" rIns="36000" bIns="0" rtlCol="0" anchor="t">
            <a:spAutoFit/>
          </a:bodyPr>
          <a:lstStyle/>
          <a:p>
            <a:pPr marL="173038" indent="-173038">
              <a:buFont typeface="Arial" panose="020B0604020202020204" pitchFamily="34" charset="0"/>
              <a:buChar char="•"/>
            </a:pPr>
            <a:r>
              <a:rPr lang="en-US" sz="1400">
                <a:solidFill>
                  <a:srgbClr val="374151"/>
                </a:solidFill>
                <a:latin typeface="+mn-lt"/>
                <a:ea typeface="ＭＳ Ｐゴシック"/>
              </a:rPr>
              <a:t>Some OTT distributors like Netflix, Amazon prime Video, Disney+ have also entered the content production space </a:t>
            </a:r>
          </a:p>
          <a:p>
            <a:pPr marL="566738" lvl="1" indent="-285750">
              <a:buFont typeface="Courier New" panose="02070309020205020404" pitchFamily="49" charset="0"/>
              <a:buChar char="o"/>
              <a:tabLst>
                <a:tab pos="231775" algn="l"/>
              </a:tabLst>
            </a:pPr>
            <a:r>
              <a:rPr lang="en-US" sz="1400">
                <a:solidFill>
                  <a:srgbClr val="374151"/>
                </a:solidFill>
                <a:latin typeface="+mn-lt"/>
                <a:ea typeface="ＭＳ Ｐゴシック"/>
              </a:rPr>
              <a:t>Inhouse production unit to develop and stream original content</a:t>
            </a:r>
          </a:p>
          <a:p>
            <a:pPr marL="174625" indent="-174625">
              <a:buFont typeface="Arial" panose="020B0604020202020204" pitchFamily="34" charset="0"/>
              <a:buChar char="•"/>
              <a:tabLst>
                <a:tab pos="119063" algn="l"/>
              </a:tabLst>
            </a:pPr>
            <a:r>
              <a:rPr lang="en-US" sz="1400">
                <a:solidFill>
                  <a:srgbClr val="374151"/>
                </a:solidFill>
                <a:latin typeface="+mn-lt"/>
                <a:ea typeface="ＭＳ Ｐゴシック"/>
              </a:rPr>
              <a:t>Subscription models adopted by popular OTT distributors:</a:t>
            </a:r>
          </a:p>
          <a:p>
            <a:pPr marL="568325" lvl="1" indent="-285750">
              <a:buFont typeface="Courier New" panose="02070309020205020404" pitchFamily="49" charset="0"/>
              <a:buChar char="o"/>
            </a:pPr>
            <a:r>
              <a:rPr lang="en-US" sz="1400">
                <a:solidFill>
                  <a:srgbClr val="374151"/>
                </a:solidFill>
                <a:latin typeface="+mn-lt"/>
                <a:ea typeface="ＭＳ Ｐゴシック"/>
              </a:rPr>
              <a:t>Subscription Video On Demand (SVOD): Monthly plan for unlimited access to content anytime</a:t>
            </a:r>
          </a:p>
          <a:p>
            <a:pPr marL="568325" lvl="1" indent="-285750">
              <a:buFont typeface="Courier New" panose="02070309020205020404" pitchFamily="49" charset="0"/>
              <a:buChar char="o"/>
            </a:pPr>
            <a:r>
              <a:rPr lang="en-US" sz="1400">
                <a:solidFill>
                  <a:srgbClr val="374151"/>
                </a:solidFill>
                <a:latin typeface="+mn-lt"/>
                <a:ea typeface="ＭＳ Ｐゴシック"/>
              </a:rPr>
              <a:t>Transactional Video On Demand (TVOD): Only pay for content audience want to watch</a:t>
            </a:r>
          </a:p>
          <a:p>
            <a:pPr marL="568325" lvl="1" indent="-285750">
              <a:buFont typeface="Courier New" panose="02070309020205020404" pitchFamily="49" charset="0"/>
              <a:buChar char="o"/>
            </a:pPr>
            <a:r>
              <a:rPr lang="en-US" sz="1400">
                <a:solidFill>
                  <a:srgbClr val="374151"/>
                </a:solidFill>
                <a:latin typeface="+mn-lt"/>
                <a:ea typeface="ＭＳ Ｐゴシック"/>
              </a:rPr>
              <a:t>Hybrid Model: Combination of SVOD &amp; TVOD</a:t>
            </a:r>
          </a:p>
        </p:txBody>
      </p:sp>
      <p:cxnSp>
        <p:nvCxnSpPr>
          <p:cNvPr id="104" name="Straight Connector 103">
            <a:extLst>
              <a:ext uri="{FF2B5EF4-FFF2-40B4-BE49-F238E27FC236}">
                <a16:creationId xmlns:a16="http://schemas.microsoft.com/office/drawing/2014/main" id="{478FBB3D-B488-FF67-3954-DEAA9159E144}"/>
              </a:ext>
            </a:extLst>
          </p:cNvPr>
          <p:cNvCxnSpPr/>
          <p:nvPr/>
        </p:nvCxnSpPr>
        <p:spPr bwMode="auto">
          <a:xfrm flipH="1">
            <a:off x="5616561" y="5063962"/>
            <a:ext cx="4183678" cy="0"/>
          </a:xfrm>
          <a:prstGeom prst="line">
            <a:avLst/>
          </a:prstGeom>
          <a:solidFill>
            <a:srgbClr val="FF6600"/>
          </a:solidFill>
          <a:ln w="12700" cap="flat" cmpd="sng" algn="ctr">
            <a:solidFill>
              <a:schemeClr val="tx1">
                <a:lumMod val="40000"/>
                <a:lumOff val="6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5" name="Rectangle 104">
            <a:extLst>
              <a:ext uri="{FF2B5EF4-FFF2-40B4-BE49-F238E27FC236}">
                <a16:creationId xmlns:a16="http://schemas.microsoft.com/office/drawing/2014/main" id="{4620399C-DC63-8DE8-4176-0764EC45F60A}"/>
              </a:ext>
            </a:extLst>
          </p:cNvPr>
          <p:cNvSpPr/>
          <p:nvPr/>
        </p:nvSpPr>
        <p:spPr bwMode="auto">
          <a:xfrm>
            <a:off x="5662671" y="5145313"/>
            <a:ext cx="452061" cy="1503071"/>
          </a:xfrm>
          <a:prstGeom prst="rect">
            <a:avLst/>
          </a:prstGeom>
          <a:solidFill>
            <a:schemeClr val="tx2"/>
          </a:solidFill>
          <a:ln w="12700" cap="flat" cmpd="sng" algn="ctr">
            <a:noFill/>
            <a:prstDash val="solid"/>
            <a:round/>
            <a:headEnd type="none" w="med" len="med"/>
            <a:tailEnd type="none" w="med" len="med"/>
          </a:ln>
          <a:effectLst/>
        </p:spPr>
        <p:txBody>
          <a:bodyPr vert="vert270"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400" b="0" i="0" u="none" strike="noStrike" cap="none" normalizeH="0" baseline="0">
                <a:ln>
                  <a:noFill/>
                </a:ln>
                <a:solidFill>
                  <a:schemeClr val="bg1"/>
                </a:solidFill>
                <a:effectLst/>
                <a:latin typeface="+mn-lt"/>
                <a:ea typeface="+mn-ea"/>
              </a:rPr>
              <a:t>Top Players</a:t>
            </a:r>
          </a:p>
        </p:txBody>
      </p:sp>
      <p:sp>
        <p:nvSpPr>
          <p:cNvPr id="106" name="TextBox 105">
            <a:extLst>
              <a:ext uri="{FF2B5EF4-FFF2-40B4-BE49-F238E27FC236}">
                <a16:creationId xmlns:a16="http://schemas.microsoft.com/office/drawing/2014/main" id="{6C766CFB-2D58-FD45-EB63-ED990068374E}"/>
              </a:ext>
            </a:extLst>
          </p:cNvPr>
          <p:cNvSpPr txBox="1"/>
          <p:nvPr/>
        </p:nvSpPr>
        <p:spPr>
          <a:xfrm>
            <a:off x="6154318" y="5171348"/>
            <a:ext cx="3547393" cy="1113570"/>
          </a:xfrm>
          <a:prstGeom prst="rect">
            <a:avLst/>
          </a:prstGeom>
          <a:noFill/>
        </p:spPr>
        <p:txBody>
          <a:bodyPr wrap="square" lIns="36000" tIns="36000" rIns="36000" bIns="0" rtlCol="0" anchor="t">
            <a:spAutoFit/>
          </a:bodyPr>
          <a:lstStyle/>
          <a:p>
            <a:pPr marL="173038" indent="-173038">
              <a:buFont typeface="Arial" panose="020B0604020202020204" pitchFamily="34" charset="0"/>
              <a:buChar char="•"/>
            </a:pPr>
            <a:r>
              <a:rPr lang="en-US" sz="1400">
                <a:solidFill>
                  <a:srgbClr val="374151"/>
                </a:solidFill>
                <a:latin typeface="+mn-lt"/>
                <a:ea typeface="ＭＳ Ｐゴシック"/>
              </a:rPr>
              <a:t>OTT Distributor:</a:t>
            </a:r>
          </a:p>
          <a:p>
            <a:pPr marL="630238" lvl="1" indent="-173038">
              <a:buFont typeface="Arial" panose="020B0604020202020204" pitchFamily="34" charset="0"/>
              <a:buChar char="•"/>
            </a:pPr>
            <a:r>
              <a:rPr lang="en-US" sz="1400">
                <a:solidFill>
                  <a:srgbClr val="374151"/>
                </a:solidFill>
                <a:latin typeface="+mn-lt"/>
                <a:ea typeface="ＭＳ Ｐゴシック"/>
              </a:rPr>
              <a:t>Netflix (Global Subscribers: 231M)</a:t>
            </a:r>
          </a:p>
          <a:p>
            <a:pPr marL="630238" lvl="1" indent="-173038">
              <a:buFont typeface="Arial" panose="020B0604020202020204" pitchFamily="34" charset="0"/>
              <a:buChar char="•"/>
            </a:pPr>
            <a:r>
              <a:rPr lang="en-US" sz="1400">
                <a:solidFill>
                  <a:srgbClr val="374151"/>
                </a:solidFill>
                <a:latin typeface="+mn-lt"/>
                <a:ea typeface="ＭＳ Ｐゴシック"/>
              </a:rPr>
              <a:t>Amazon Prime Video (Global Subscribers: 200M)</a:t>
            </a:r>
          </a:p>
          <a:p>
            <a:pPr marL="630238" lvl="1" indent="-173038">
              <a:buFont typeface="Arial" panose="020B0604020202020204" pitchFamily="34" charset="0"/>
              <a:buChar char="•"/>
            </a:pPr>
            <a:r>
              <a:rPr lang="en-US" sz="1400">
                <a:solidFill>
                  <a:srgbClr val="374151"/>
                </a:solidFill>
                <a:latin typeface="+mn-lt"/>
                <a:ea typeface="ＭＳ Ｐゴシック"/>
              </a:rPr>
              <a:t>Disney+ (Global Subscribers: 138M)</a:t>
            </a:r>
          </a:p>
        </p:txBody>
      </p:sp>
      <p:grpSp>
        <p:nvGrpSpPr>
          <p:cNvPr id="107" name="グループ化 3">
            <a:extLst>
              <a:ext uri="{FF2B5EF4-FFF2-40B4-BE49-F238E27FC236}">
                <a16:creationId xmlns:a16="http://schemas.microsoft.com/office/drawing/2014/main" id="{C98C65A8-E9E5-2EF4-704C-C6543E3E511D}"/>
              </a:ext>
            </a:extLst>
          </p:cNvPr>
          <p:cNvGrpSpPr/>
          <p:nvPr/>
        </p:nvGrpSpPr>
        <p:grpSpPr>
          <a:xfrm>
            <a:off x="209867" y="1304685"/>
            <a:ext cx="5103122" cy="318924"/>
            <a:chOff x="1016089" y="1458279"/>
            <a:chExt cx="2016000" cy="324598"/>
          </a:xfrm>
        </p:grpSpPr>
        <p:sp>
          <p:nvSpPr>
            <p:cNvPr id="108" name="Rectangle 2">
              <a:extLst>
                <a:ext uri="{FF2B5EF4-FFF2-40B4-BE49-F238E27FC236}">
                  <a16:creationId xmlns:a16="http://schemas.microsoft.com/office/drawing/2014/main" id="{D98E4217-6882-C917-44E2-82DDDD4B87F4}"/>
                </a:ext>
              </a:extLst>
            </p:cNvPr>
            <p:cNvSpPr>
              <a:spLocks noChangeArrowheads="1"/>
            </p:cNvSpPr>
            <p:nvPr/>
          </p:nvSpPr>
          <p:spPr bwMode="auto">
            <a:xfrm>
              <a:off x="1705886" y="1458279"/>
              <a:ext cx="636419" cy="324598"/>
            </a:xfrm>
            <a:prstGeom prst="rect">
              <a:avLst/>
            </a:prstGeom>
            <a:noFill/>
            <a:ln w="9525">
              <a:noFill/>
              <a:miter lim="800000"/>
              <a:headEnd/>
              <a:tailEnd/>
            </a:ln>
            <a:effectLst/>
          </p:spPr>
          <p:txBody>
            <a:bodyPr wrap="none" lIns="36000" tIns="36000" rIns="36000" bIns="36000" anchor="b" anchorCtr="0">
              <a:spAutoFit/>
            </a:bodyPr>
            <a:lstStyle>
              <a:lvl1pPr>
                <a:spcBef>
                  <a:spcPct val="30000"/>
                </a:spcBef>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1pPr>
              <a:lvl2pPr marL="476250" indent="-285750">
                <a:spcBef>
                  <a:spcPct val="30000"/>
                </a:spcBef>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2pPr>
              <a:lvl3pPr marL="889000" indent="-222250">
                <a:spcBef>
                  <a:spcPct val="30000"/>
                </a:spcBef>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3pPr>
              <a:lvl4pPr marL="1414463" indent="-247650">
                <a:spcBef>
                  <a:spcPct val="30000"/>
                </a:spcBef>
                <a:buSzPct val="70000"/>
                <a:buFont typeface="Wingdings" panose="05000000000000000000" pitchFamily="2" charset="2"/>
                <a:buChar char="l"/>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4pPr>
              <a:lvl5pPr marL="1833563" indent="-228600">
                <a:spcBef>
                  <a:spcPct val="30000"/>
                </a:spcBef>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5pPr>
              <a:lvl6pPr marL="22907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6pPr>
              <a:lvl7pPr marL="27479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7pPr>
              <a:lvl8pPr marL="32051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8pPr>
              <a:lvl9pPr marL="3662363" indent="-228600" eaLnBrk="0" fontAlgn="base" hangingPunct="0">
                <a:spcBef>
                  <a:spcPct val="30000"/>
                </a:spcBef>
                <a:spcAft>
                  <a:spcPct val="0"/>
                </a:spcAft>
                <a:buSzPct val="70000"/>
                <a:buChar char="–"/>
                <a:defRPr kumimoji="1">
                  <a:solidFill>
                    <a:schemeClr val="tx1"/>
                  </a:solidFill>
                  <a:latin typeface="Arial" panose="020B0604020202020204" pitchFamily="34" charset="0"/>
                  <a:ea typeface="メイリオ" panose="020B0604030504040204" pitchFamily="50" charset="-128"/>
                  <a:cs typeface="メイリオ" panose="020B0604030504040204"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1" lang="en-US" altLang="ja-JP" sz="1600" b="1" i="0" u="none" strike="noStrike" kern="1200" cap="none" spc="0" normalizeH="0" baseline="0" noProof="0">
                  <a:ln>
                    <a:noFill/>
                  </a:ln>
                  <a:solidFill>
                    <a:srgbClr val="4A4A4A"/>
                  </a:solidFill>
                  <a:effectLst/>
                  <a:uLnTx/>
                  <a:uFillTx/>
                  <a:latin typeface="+mj-lt"/>
                  <a:ea typeface="Meiryo UI"/>
                </a:rPr>
                <a:t>Business Model</a:t>
              </a:r>
              <a:endParaRPr kumimoji="1" lang="ja-JP" altLang="en-US" sz="1600" b="1" i="0" u="none" strike="noStrike" kern="1200" cap="none" spc="0" normalizeH="0" baseline="0" noProof="0">
                <a:ln>
                  <a:noFill/>
                </a:ln>
                <a:solidFill>
                  <a:srgbClr val="4A4A4A"/>
                </a:solidFill>
                <a:effectLst/>
                <a:uLnTx/>
                <a:uFillTx/>
                <a:latin typeface="+mj-lt"/>
                <a:ea typeface="Meiryo UI"/>
              </a:endParaRPr>
            </a:p>
          </p:txBody>
        </p:sp>
        <p:cxnSp>
          <p:nvCxnSpPr>
            <p:cNvPr id="109" name="直線コネクタ 4">
              <a:extLst>
                <a:ext uri="{FF2B5EF4-FFF2-40B4-BE49-F238E27FC236}">
                  <a16:creationId xmlns:a16="http://schemas.microsoft.com/office/drawing/2014/main" id="{6CD97BCE-8A68-31B0-4115-6A33DA4C4D79}"/>
                </a:ext>
              </a:extLst>
            </p:cNvPr>
            <p:cNvCxnSpPr/>
            <p:nvPr/>
          </p:nvCxnSpPr>
          <p:spPr bwMode="auto">
            <a:xfrm>
              <a:off x="1016089" y="1782873"/>
              <a:ext cx="2016000" cy="0"/>
            </a:xfrm>
            <a:prstGeom prst="line">
              <a:avLst/>
            </a:prstGeom>
            <a:solidFill>
              <a:srgbClr val="FF6600"/>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7" name="Rectangle 3">
            <a:extLst>
              <a:ext uri="{FF2B5EF4-FFF2-40B4-BE49-F238E27FC236}">
                <a16:creationId xmlns:a16="http://schemas.microsoft.com/office/drawing/2014/main" id="{60E6C6F7-DC26-BA24-66B4-90F233F4CCB3}"/>
              </a:ext>
            </a:extLst>
          </p:cNvPr>
          <p:cNvSpPr txBox="1">
            <a:spLocks noChangeArrowheads="1"/>
          </p:cNvSpPr>
          <p:nvPr/>
        </p:nvSpPr>
        <p:spPr bwMode="auto">
          <a:xfrm>
            <a:off x="105762" y="6572046"/>
            <a:ext cx="4176000" cy="342383"/>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72000" rIns="72000" bIns="72000" numCol="1" anchor="b" anchorCtr="0" compatLnSpc="1">
            <a:prstTxWarp prst="textNoShape">
              <a:avLst/>
            </a:prstTxWarp>
            <a:spAutoFit/>
          </a:bodyPr>
          <a:lstStyle>
            <a:lvl1pPr algn="l" rtl="0" eaLnBrk="1" fontAlgn="base" hangingPunct="1">
              <a:spcBef>
                <a:spcPts val="600"/>
              </a:spcBef>
              <a:spcAft>
                <a:spcPct val="0"/>
              </a:spcAft>
              <a:defRPr kumimoji="1" sz="1600">
                <a:solidFill>
                  <a:schemeClr val="tx1"/>
                </a:solidFill>
                <a:latin typeface="+mn-lt"/>
                <a:ea typeface="+mn-ea"/>
                <a:cs typeface="メイリオ" pitchFamily="50" charset="-128"/>
              </a:defRPr>
            </a:lvl1pPr>
            <a:lvl2pPr marL="450850" indent="-196850" algn="l" rtl="0" eaLnBrk="1" fontAlgn="base" hangingPunct="1">
              <a:spcBef>
                <a:spcPts val="600"/>
              </a:spcBef>
              <a:spcAft>
                <a:spcPct val="0"/>
              </a:spcAft>
              <a:buSzPct val="90000"/>
              <a:buFont typeface="Arial" panose="020B0604020202020204" pitchFamily="34" charset="0"/>
              <a:buChar char="●"/>
              <a:defRPr kumimoji="1" sz="1600">
                <a:solidFill>
                  <a:schemeClr val="tx1"/>
                </a:solidFill>
                <a:latin typeface="+mn-lt"/>
                <a:ea typeface="+mn-ea"/>
                <a:cs typeface="メイリオ" pitchFamily="50" charset="-128"/>
              </a:defRPr>
            </a:lvl2pPr>
            <a:lvl3pPr marL="846138" indent="-179388" algn="l" rtl="0" eaLnBrk="1" fontAlgn="base" hangingPunct="1">
              <a:spcBef>
                <a:spcPts val="600"/>
              </a:spcBef>
              <a:spcAft>
                <a:spcPct val="0"/>
              </a:spcAft>
              <a:buSzPct val="90000"/>
              <a:buChar char="–"/>
              <a:defRPr kumimoji="1" sz="1600">
                <a:solidFill>
                  <a:schemeClr val="tx1"/>
                </a:solidFill>
                <a:latin typeface="+mn-lt"/>
                <a:ea typeface="+mn-ea"/>
                <a:cs typeface="メイリオ" pitchFamily="50" charset="-128"/>
              </a:defRPr>
            </a:lvl3pPr>
            <a:lvl4pPr marL="1228725" indent="-158750" algn="l" rtl="0" eaLnBrk="1" fontAlgn="base" hangingPunct="1">
              <a:spcBef>
                <a:spcPts val="600"/>
              </a:spcBef>
              <a:spcAft>
                <a:spcPct val="0"/>
              </a:spcAft>
              <a:buSzPct val="70000"/>
              <a:buFont typeface="Arial" panose="020B0604020202020204" pitchFamily="34" charset="0"/>
              <a:buChar char="○"/>
              <a:defRPr kumimoji="1" sz="1600">
                <a:solidFill>
                  <a:schemeClr val="tx1"/>
                </a:solidFill>
                <a:latin typeface="+mn-lt"/>
                <a:ea typeface="+mn-ea"/>
                <a:cs typeface="メイリオ" pitchFamily="50" charset="-128"/>
              </a:defRPr>
            </a:lvl4pPr>
            <a:lvl5pPr marL="1617663" indent="-176213" algn="l" rtl="0" eaLnBrk="1" fontAlgn="base" hangingPunct="1">
              <a:spcBef>
                <a:spcPts val="600"/>
              </a:spcBef>
              <a:spcAft>
                <a:spcPct val="0"/>
              </a:spcAft>
              <a:buSzPct val="70000"/>
              <a:buChar char="–"/>
              <a:defRPr kumimoji="1" sz="1600">
                <a:solidFill>
                  <a:schemeClr val="tx1"/>
                </a:solidFill>
                <a:latin typeface="+mn-lt"/>
                <a:ea typeface="+mn-ea"/>
                <a:cs typeface="メイリオ" pitchFamily="50" charset="-128"/>
              </a:defRPr>
            </a:lvl5pPr>
            <a:lvl6pPr marL="2038350" indent="0" algn="l" rtl="0" eaLnBrk="1" fontAlgn="base" hangingPunct="1">
              <a:spcBef>
                <a:spcPct val="30000"/>
              </a:spcBef>
              <a:spcAft>
                <a:spcPct val="0"/>
              </a:spcAft>
              <a:buSzPct val="70000"/>
              <a:buNone/>
              <a:defRPr kumimoji="1">
                <a:solidFill>
                  <a:schemeClr val="tx1"/>
                </a:solidFill>
                <a:latin typeface="+mn-lt"/>
                <a:ea typeface="+mn-ea"/>
              </a:defRPr>
            </a:lvl6pPr>
            <a:lvl7pPr marL="2724150" indent="-228600" algn="l" rtl="0" eaLnBrk="1" fontAlgn="base" hangingPunct="1">
              <a:spcBef>
                <a:spcPct val="30000"/>
              </a:spcBef>
              <a:spcAft>
                <a:spcPct val="0"/>
              </a:spcAft>
              <a:buSzPct val="70000"/>
              <a:buChar char="–"/>
              <a:defRPr kumimoji="1">
                <a:solidFill>
                  <a:schemeClr val="tx1"/>
                </a:solidFill>
                <a:latin typeface="+mn-lt"/>
                <a:ea typeface="+mn-ea"/>
              </a:defRPr>
            </a:lvl7pPr>
            <a:lvl8pPr marL="3181350" indent="-228600" algn="l" rtl="0" eaLnBrk="1" fontAlgn="base" hangingPunct="1">
              <a:spcBef>
                <a:spcPct val="30000"/>
              </a:spcBef>
              <a:spcAft>
                <a:spcPct val="0"/>
              </a:spcAft>
              <a:buSzPct val="70000"/>
              <a:buChar char="–"/>
              <a:defRPr kumimoji="1">
                <a:solidFill>
                  <a:schemeClr val="tx1"/>
                </a:solidFill>
                <a:latin typeface="+mn-lt"/>
                <a:ea typeface="+mn-ea"/>
              </a:defRPr>
            </a:lvl8pPr>
            <a:lvl9pPr marL="3638550" indent="-228600" algn="l" rtl="0" eaLnBrk="1" fontAlgn="base" hangingPunct="1">
              <a:spcBef>
                <a:spcPct val="30000"/>
              </a:spcBef>
              <a:spcAft>
                <a:spcPct val="0"/>
              </a:spcAft>
              <a:buSzPct val="70000"/>
              <a:buChar char="–"/>
              <a:defRPr kumimoji="1">
                <a:solidFill>
                  <a:schemeClr val="tx1"/>
                </a:solidFill>
                <a:latin typeface="+mn-lt"/>
                <a:ea typeface="+mn-ea"/>
              </a:defRPr>
            </a:lvl9pPr>
          </a:lstStyle>
          <a:p>
            <a:pPr defTabSz="538163">
              <a:lnSpc>
                <a:spcPct val="80000"/>
              </a:lnSpc>
              <a:spcBef>
                <a:spcPts val="0"/>
              </a:spcBef>
            </a:pPr>
            <a:r>
              <a:rPr lang="en-US" altLang="ja-JP" sz="800">
                <a:cs typeface="Arial" panose="020B0604020202020204" pitchFamily="34" charset="0"/>
              </a:rPr>
              <a:t>* OTT : Over-The-Top (Film content over the internet)</a:t>
            </a:r>
          </a:p>
          <a:p>
            <a:pPr defTabSz="538163">
              <a:lnSpc>
                <a:spcPct val="80000"/>
              </a:lnSpc>
              <a:spcBef>
                <a:spcPts val="0"/>
              </a:spcBef>
            </a:pPr>
            <a:r>
              <a:rPr lang="en-US" altLang="ja-JP" sz="800">
                <a:cs typeface="Arial" panose="020B0604020202020204" pitchFamily="34" charset="0"/>
              </a:rPr>
              <a:t>  Global Subscriber figures based on 2023 data </a:t>
            </a:r>
            <a:endParaRPr lang="ja-JP" altLang="en-US" sz="800">
              <a:cs typeface="Arial" panose="020B0604020202020204" pitchFamily="34" charset="0"/>
            </a:endParaRPr>
          </a:p>
        </p:txBody>
      </p:sp>
    </p:spTree>
    <p:extLst>
      <p:ext uri="{BB962C8B-B14F-4D97-AF65-F5344CB8AC3E}">
        <p14:creationId xmlns:p14="http://schemas.microsoft.com/office/powerpoint/2010/main" val="2997694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17A13-15DD-FAE6-2CC5-97885DC24AFC}"/>
              </a:ext>
            </a:extLst>
          </p:cNvPr>
          <p:cNvSpPr>
            <a:spLocks noGrp="1"/>
          </p:cNvSpPr>
          <p:nvPr>
            <p:ph type="title"/>
          </p:nvPr>
        </p:nvSpPr>
        <p:spPr/>
        <p:txBody>
          <a:bodyPr/>
          <a:lstStyle/>
          <a:p>
            <a:r>
              <a:rPr lang="en-US"/>
              <a:t>Data Pipeline (1/3) : Overview </a:t>
            </a:r>
          </a:p>
        </p:txBody>
      </p:sp>
      <p:grpSp>
        <p:nvGrpSpPr>
          <p:cNvPr id="54" name="Group 53">
            <a:extLst>
              <a:ext uri="{FF2B5EF4-FFF2-40B4-BE49-F238E27FC236}">
                <a16:creationId xmlns:a16="http://schemas.microsoft.com/office/drawing/2014/main" id="{1A760222-EF6B-5193-D2FB-E8D1ED9D4CAD}"/>
              </a:ext>
            </a:extLst>
          </p:cNvPr>
          <p:cNvGrpSpPr/>
          <p:nvPr/>
        </p:nvGrpSpPr>
        <p:grpSpPr>
          <a:xfrm>
            <a:off x="165285" y="810519"/>
            <a:ext cx="9675889" cy="5693977"/>
            <a:chOff x="128511" y="1011388"/>
            <a:chExt cx="9675889" cy="5693977"/>
          </a:xfrm>
        </p:grpSpPr>
        <p:sp>
          <p:nvSpPr>
            <p:cNvPr id="3" name="Pentagon 3">
              <a:extLst>
                <a:ext uri="{FF2B5EF4-FFF2-40B4-BE49-F238E27FC236}">
                  <a16:creationId xmlns:a16="http://schemas.microsoft.com/office/drawing/2014/main" id="{79D9E8DC-CF81-A5EF-E313-3D868DA7003D}"/>
                </a:ext>
              </a:extLst>
            </p:cNvPr>
            <p:cNvSpPr/>
            <p:nvPr/>
          </p:nvSpPr>
          <p:spPr bwMode="auto">
            <a:xfrm>
              <a:off x="607230" y="1011388"/>
              <a:ext cx="1768514" cy="837117"/>
            </a:xfrm>
            <a:prstGeom prst="homePlate">
              <a:avLst/>
            </a:prstGeom>
            <a:solidFill>
              <a:schemeClr val="tx2"/>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200" b="1" i="0" u="none" strike="noStrike" cap="none" normalizeH="0" baseline="0">
                  <a:ln>
                    <a:noFill/>
                  </a:ln>
                  <a:solidFill>
                    <a:schemeClr val="bg1"/>
                  </a:solidFill>
                  <a:effectLst/>
                  <a:latin typeface="+mn-lt"/>
                  <a:ea typeface="+mn-ea"/>
                </a:rPr>
                <a:t>Stage 1: </a:t>
              </a:r>
            </a:p>
            <a:p>
              <a:pPr marL="0" marR="0" indent="0" algn="ctr" defTabSz="914400" rtl="0" eaLnBrk="1" fontAlgn="base" latinLnBrk="0" hangingPunct="1">
                <a:lnSpc>
                  <a:spcPct val="100000"/>
                </a:lnSpc>
                <a:spcBef>
                  <a:spcPct val="0"/>
                </a:spcBef>
                <a:spcAft>
                  <a:spcPct val="0"/>
                </a:spcAft>
                <a:buClrTx/>
                <a:buSzTx/>
                <a:buFontTx/>
                <a:buNone/>
                <a:tabLst/>
              </a:pPr>
              <a:r>
                <a:rPr kumimoji="1" lang="en-US" sz="1200" b="1" i="0" u="none" strike="noStrike" cap="none" normalizeH="0" baseline="0">
                  <a:ln>
                    <a:noFill/>
                  </a:ln>
                  <a:solidFill>
                    <a:schemeClr val="bg1"/>
                  </a:solidFill>
                  <a:effectLst/>
                  <a:latin typeface="+mn-lt"/>
                  <a:ea typeface="+mn-ea"/>
                </a:rPr>
                <a:t>Data Acquisition</a:t>
              </a:r>
              <a:endParaRPr kumimoji="1" lang="en-US" sz="1200" b="0" i="0" u="none" strike="noStrike" cap="none" normalizeH="0" baseline="0">
                <a:ln>
                  <a:noFill/>
                </a:ln>
                <a:solidFill>
                  <a:schemeClr val="bg1"/>
                </a:solidFill>
                <a:effectLst/>
                <a:latin typeface="+mn-lt"/>
                <a:ea typeface="+mn-ea"/>
              </a:endParaRPr>
            </a:p>
          </p:txBody>
        </p:sp>
        <p:sp>
          <p:nvSpPr>
            <p:cNvPr id="5" name="Chevron 6">
              <a:extLst>
                <a:ext uri="{FF2B5EF4-FFF2-40B4-BE49-F238E27FC236}">
                  <a16:creationId xmlns:a16="http://schemas.microsoft.com/office/drawing/2014/main" id="{48F67AB6-BC7A-7909-6398-5CA565F83E92}"/>
                </a:ext>
              </a:extLst>
            </p:cNvPr>
            <p:cNvSpPr/>
            <p:nvPr/>
          </p:nvSpPr>
          <p:spPr bwMode="auto">
            <a:xfrm>
              <a:off x="7675571" y="1011389"/>
              <a:ext cx="2128829" cy="837116"/>
            </a:xfrm>
            <a:prstGeom prst="chevron">
              <a:avLst/>
            </a:prstGeom>
            <a:solidFill>
              <a:schemeClr val="tx2"/>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b="1">
                  <a:solidFill>
                    <a:schemeClr val="bg1"/>
                  </a:solidFill>
                  <a:latin typeface="+mn-lt"/>
                  <a:ea typeface="+mn-ea"/>
                </a:rPr>
                <a:t>Stage 3:</a:t>
              </a:r>
            </a:p>
            <a:p>
              <a:pPr marL="0" marR="0" indent="0" algn="ctr" defTabSz="914400" rtl="0" eaLnBrk="1" fontAlgn="base" latinLnBrk="0" hangingPunct="1">
                <a:lnSpc>
                  <a:spcPct val="100000"/>
                </a:lnSpc>
                <a:spcBef>
                  <a:spcPct val="0"/>
                </a:spcBef>
                <a:spcAft>
                  <a:spcPct val="0"/>
                </a:spcAft>
                <a:buClrTx/>
                <a:buSzTx/>
                <a:buFontTx/>
                <a:buNone/>
                <a:tabLst/>
              </a:pPr>
              <a:r>
                <a:rPr lang="en-US" sz="1200" b="1">
                  <a:solidFill>
                    <a:schemeClr val="bg1"/>
                  </a:solidFill>
                  <a:latin typeface="+mn-lt"/>
                  <a:ea typeface="+mn-ea"/>
                </a:rPr>
                <a:t>Model Deployment</a:t>
              </a:r>
              <a:endParaRPr kumimoji="1" lang="en-US" sz="1200" b="0" i="0" u="none" strike="noStrike" cap="none" normalizeH="0" baseline="0">
                <a:ln>
                  <a:noFill/>
                </a:ln>
                <a:solidFill>
                  <a:schemeClr val="bg1"/>
                </a:solidFill>
                <a:effectLst/>
                <a:latin typeface="+mn-lt"/>
                <a:ea typeface="+mn-ea"/>
              </a:endParaRPr>
            </a:p>
          </p:txBody>
        </p:sp>
        <p:sp>
          <p:nvSpPr>
            <p:cNvPr id="7" name="Rectangle 6">
              <a:extLst>
                <a:ext uri="{FF2B5EF4-FFF2-40B4-BE49-F238E27FC236}">
                  <a16:creationId xmlns:a16="http://schemas.microsoft.com/office/drawing/2014/main" id="{89C6BB75-B469-C49C-215F-5956850980A4}"/>
                </a:ext>
              </a:extLst>
            </p:cNvPr>
            <p:cNvSpPr/>
            <p:nvPr/>
          </p:nvSpPr>
          <p:spPr bwMode="auto">
            <a:xfrm>
              <a:off x="128511" y="1937778"/>
              <a:ext cx="452061" cy="4767586"/>
            </a:xfrm>
            <a:prstGeom prst="rect">
              <a:avLst/>
            </a:prstGeom>
            <a:solidFill>
              <a:schemeClr val="tx2"/>
            </a:solidFill>
            <a:ln w="12700" cap="flat" cmpd="sng" algn="ctr">
              <a:noFill/>
              <a:prstDash val="solid"/>
              <a:round/>
              <a:headEnd type="none" w="med" len="med"/>
              <a:tailEnd type="none" w="med" len="med"/>
            </a:ln>
            <a:effectLst/>
          </p:spPr>
          <p:txBody>
            <a:bodyPr vert="vert270"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sz="1400" b="0" i="0" u="none" strike="noStrike" cap="none" normalizeH="0" baseline="0">
                  <a:ln>
                    <a:noFill/>
                  </a:ln>
                  <a:solidFill>
                    <a:schemeClr val="bg1"/>
                  </a:solidFill>
                  <a:effectLst/>
                  <a:latin typeface="+mn-lt"/>
                  <a:ea typeface="+mn-ea"/>
                </a:rPr>
                <a:t>Activities </a:t>
              </a:r>
            </a:p>
          </p:txBody>
        </p:sp>
        <p:grpSp>
          <p:nvGrpSpPr>
            <p:cNvPr id="12" name="Group 11">
              <a:extLst>
                <a:ext uri="{FF2B5EF4-FFF2-40B4-BE49-F238E27FC236}">
                  <a16:creationId xmlns:a16="http://schemas.microsoft.com/office/drawing/2014/main" id="{7BD8960C-3D22-1F9D-25C0-24602BDA6B70}"/>
                </a:ext>
              </a:extLst>
            </p:cNvPr>
            <p:cNvGrpSpPr/>
            <p:nvPr/>
          </p:nvGrpSpPr>
          <p:grpSpPr>
            <a:xfrm>
              <a:off x="591678" y="1937779"/>
              <a:ext cx="1635451" cy="2810751"/>
              <a:chOff x="928966" y="1937779"/>
              <a:chExt cx="1635451" cy="2810751"/>
            </a:xfrm>
          </p:grpSpPr>
          <p:sp>
            <p:nvSpPr>
              <p:cNvPr id="8" name="TextBox 7">
                <a:extLst>
                  <a:ext uri="{FF2B5EF4-FFF2-40B4-BE49-F238E27FC236}">
                    <a16:creationId xmlns:a16="http://schemas.microsoft.com/office/drawing/2014/main" id="{75E6F3C1-326E-C517-8509-DEE367ABC07E}"/>
                  </a:ext>
                </a:extLst>
              </p:cNvPr>
              <p:cNvSpPr txBox="1"/>
              <p:nvPr/>
            </p:nvSpPr>
            <p:spPr>
              <a:xfrm>
                <a:off x="928966" y="1937779"/>
                <a:ext cx="1635451" cy="1975344"/>
              </a:xfrm>
              <a:prstGeom prst="rect">
                <a:avLst/>
              </a:prstGeom>
              <a:noFill/>
            </p:spPr>
            <p:txBody>
              <a:bodyPr wrap="square" lIns="36000" tIns="36000" rIns="36000" bIns="0" rtlCol="0">
                <a:spAutoFit/>
              </a:bodyPr>
              <a:lstStyle/>
              <a:p>
                <a:pPr marL="171450" indent="-171450">
                  <a:buFont typeface="Arial" panose="020B0604020202020204" pitchFamily="34" charset="0"/>
                  <a:buChar char="•"/>
                </a:pPr>
                <a:r>
                  <a:rPr kumimoji="1" lang="en-US" sz="1400">
                    <a:latin typeface="+mn-lt"/>
                    <a:ea typeface="+mn-ea"/>
                  </a:rPr>
                  <a:t>Sourcing relevant data </a:t>
                </a:r>
                <a:r>
                  <a:rPr lang="en-US" sz="1400">
                    <a:latin typeface="+mn-lt"/>
                    <a:ea typeface="+mn-ea"/>
                  </a:rPr>
                  <a:t>to address the identified business problem</a:t>
                </a:r>
              </a:p>
              <a:p>
                <a:pPr marL="171450" indent="-171450">
                  <a:buFont typeface="Arial" panose="020B0604020202020204" pitchFamily="34" charset="0"/>
                  <a:buChar char="•"/>
                </a:pPr>
                <a:r>
                  <a:rPr lang="en-US" sz="1400">
                    <a:latin typeface="+mn-lt"/>
                    <a:ea typeface="+mn-ea"/>
                  </a:rPr>
                  <a:t>Cross-validating dataset</a:t>
                </a:r>
              </a:p>
              <a:p>
                <a:pPr marL="171450" indent="-171450">
                  <a:buFont typeface="Arial" panose="020B0604020202020204" pitchFamily="34" charset="0"/>
                  <a:buChar char="•"/>
                </a:pPr>
                <a:r>
                  <a:rPr kumimoji="1" lang="en-US" sz="1400" b="1">
                    <a:latin typeface="+mn-lt"/>
                    <a:ea typeface="+mn-ea"/>
                  </a:rPr>
                  <a:t>Data Sources used:</a:t>
                </a:r>
              </a:p>
              <a:p>
                <a:pPr marL="171450" indent="-171450">
                  <a:buFont typeface="Arial" panose="020B0604020202020204" pitchFamily="34" charset="0"/>
                  <a:buChar char="•"/>
                </a:pPr>
                <a:endParaRPr kumimoji="1" lang="en-US" sz="1400">
                  <a:latin typeface="+mn-lt"/>
                  <a:ea typeface="+mn-ea"/>
                </a:endParaRPr>
              </a:p>
            </p:txBody>
          </p:sp>
          <p:pic>
            <p:nvPicPr>
              <p:cNvPr id="9" name="Picture 2">
                <a:extLst>
                  <a:ext uri="{FF2B5EF4-FFF2-40B4-BE49-F238E27FC236}">
                    <a16:creationId xmlns:a16="http://schemas.microsoft.com/office/drawing/2014/main" id="{64316385-4C0E-3B8C-62C8-8ED8E187D0A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50131" y="3694892"/>
                <a:ext cx="1132160" cy="43646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D9407316-218E-17AC-6BCA-7A510A263D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6038" y="4220626"/>
                <a:ext cx="1046749" cy="5279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0FC28117-8D13-0331-38A2-0ADC08546ACA}"/>
                </a:ext>
              </a:extLst>
            </p:cNvPr>
            <p:cNvGrpSpPr/>
            <p:nvPr/>
          </p:nvGrpSpPr>
          <p:grpSpPr>
            <a:xfrm>
              <a:off x="2434992" y="1011388"/>
              <a:ext cx="5328256" cy="837118"/>
              <a:chOff x="2738120" y="1011388"/>
              <a:chExt cx="4615484" cy="837118"/>
            </a:xfrm>
          </p:grpSpPr>
          <p:sp>
            <p:nvSpPr>
              <p:cNvPr id="4" name="Chevron 6">
                <a:extLst>
                  <a:ext uri="{FF2B5EF4-FFF2-40B4-BE49-F238E27FC236}">
                    <a16:creationId xmlns:a16="http://schemas.microsoft.com/office/drawing/2014/main" id="{4E81EA7E-0D3B-DA43-96A6-A3D2733F1486}"/>
                  </a:ext>
                </a:extLst>
              </p:cNvPr>
              <p:cNvSpPr/>
              <p:nvPr/>
            </p:nvSpPr>
            <p:spPr bwMode="auto">
              <a:xfrm>
                <a:off x="2738120" y="1011388"/>
                <a:ext cx="4615484" cy="396044"/>
              </a:xfrm>
              <a:prstGeom prst="chevron">
                <a:avLst/>
              </a:prstGeom>
              <a:solidFill>
                <a:schemeClr val="tx2"/>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b="1">
                    <a:solidFill>
                      <a:schemeClr val="bg1"/>
                    </a:solidFill>
                    <a:latin typeface="+mn-lt"/>
                    <a:ea typeface="+mn-ea"/>
                  </a:rPr>
                  <a:t>Stage 2: </a:t>
                </a:r>
              </a:p>
              <a:p>
                <a:pPr marL="0" marR="0" indent="0" algn="ctr" defTabSz="914400" rtl="0" eaLnBrk="1" fontAlgn="base" latinLnBrk="0" hangingPunct="1">
                  <a:lnSpc>
                    <a:spcPct val="100000"/>
                  </a:lnSpc>
                  <a:spcBef>
                    <a:spcPct val="0"/>
                  </a:spcBef>
                  <a:spcAft>
                    <a:spcPct val="0"/>
                  </a:spcAft>
                  <a:buClrTx/>
                  <a:buSzTx/>
                  <a:buFontTx/>
                  <a:buNone/>
                  <a:tabLst/>
                </a:pPr>
                <a:r>
                  <a:rPr lang="en-US" sz="1200" b="1">
                    <a:solidFill>
                      <a:schemeClr val="bg1"/>
                    </a:solidFill>
                    <a:latin typeface="+mn-lt"/>
                    <a:ea typeface="+mn-ea"/>
                  </a:rPr>
                  <a:t>Model Development</a:t>
                </a:r>
                <a:endParaRPr kumimoji="1" lang="en-US" sz="1200" b="0" i="0" u="none" strike="noStrike" cap="none" normalizeH="0" baseline="0">
                  <a:ln>
                    <a:noFill/>
                  </a:ln>
                  <a:solidFill>
                    <a:schemeClr val="bg1"/>
                  </a:solidFill>
                  <a:effectLst/>
                  <a:latin typeface="+mn-lt"/>
                  <a:ea typeface="+mn-ea"/>
                </a:endParaRPr>
              </a:p>
            </p:txBody>
          </p:sp>
          <p:sp>
            <p:nvSpPr>
              <p:cNvPr id="14" name="Chevron 6">
                <a:extLst>
                  <a:ext uri="{FF2B5EF4-FFF2-40B4-BE49-F238E27FC236}">
                    <a16:creationId xmlns:a16="http://schemas.microsoft.com/office/drawing/2014/main" id="{AD9F55AA-EEAA-1F03-F814-97CD137D98C1}"/>
                  </a:ext>
                </a:extLst>
              </p:cNvPr>
              <p:cNvSpPr/>
              <p:nvPr/>
            </p:nvSpPr>
            <p:spPr bwMode="auto">
              <a:xfrm>
                <a:off x="2738120" y="1452462"/>
                <a:ext cx="1612596" cy="396044"/>
              </a:xfrm>
              <a:prstGeom prst="homePlate">
                <a:avLst/>
              </a:prstGeom>
              <a:solidFill>
                <a:schemeClr val="tx2"/>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a:solidFill>
                      <a:schemeClr val="bg1"/>
                    </a:solidFill>
                    <a:latin typeface="+mn-lt"/>
                    <a:ea typeface="+mn-ea"/>
                  </a:rPr>
                  <a:t>Sentiment Analysis</a:t>
                </a:r>
              </a:p>
              <a:p>
                <a:pPr marL="0" marR="0" indent="0" algn="ctr" defTabSz="914400" rtl="0" eaLnBrk="1" fontAlgn="base" latinLnBrk="0" hangingPunct="1">
                  <a:lnSpc>
                    <a:spcPct val="100000"/>
                  </a:lnSpc>
                  <a:spcBef>
                    <a:spcPct val="0"/>
                  </a:spcBef>
                  <a:spcAft>
                    <a:spcPct val="0"/>
                  </a:spcAft>
                  <a:buClrTx/>
                  <a:buSzTx/>
                  <a:buFontTx/>
                  <a:buNone/>
                  <a:tabLst/>
                </a:pPr>
                <a:r>
                  <a:rPr kumimoji="1" lang="en-US" sz="1200" i="0" u="none" strike="noStrike" cap="none" normalizeH="0" baseline="0">
                    <a:ln>
                      <a:noFill/>
                    </a:ln>
                    <a:solidFill>
                      <a:schemeClr val="bg1"/>
                    </a:solidFill>
                    <a:effectLst/>
                    <a:latin typeface="+mn-lt"/>
                    <a:ea typeface="+mn-ea"/>
                  </a:rPr>
                  <a:t>Model Building</a:t>
                </a:r>
              </a:p>
            </p:txBody>
          </p:sp>
          <p:sp>
            <p:nvSpPr>
              <p:cNvPr id="15" name="Chevron 6">
                <a:extLst>
                  <a:ext uri="{FF2B5EF4-FFF2-40B4-BE49-F238E27FC236}">
                    <a16:creationId xmlns:a16="http://schemas.microsoft.com/office/drawing/2014/main" id="{216D134F-92BB-5FF0-F3D2-204245969AA9}"/>
                  </a:ext>
                </a:extLst>
              </p:cNvPr>
              <p:cNvSpPr/>
              <p:nvPr/>
            </p:nvSpPr>
            <p:spPr bwMode="auto">
              <a:xfrm>
                <a:off x="4239564" y="1452462"/>
                <a:ext cx="1612596" cy="396044"/>
              </a:xfrm>
              <a:prstGeom prst="chevron">
                <a:avLst/>
              </a:prstGeom>
              <a:solidFill>
                <a:schemeClr val="tx2"/>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a:solidFill>
                      <a:schemeClr val="bg1"/>
                    </a:solidFill>
                    <a:latin typeface="+mn-lt"/>
                    <a:ea typeface="+mn-ea"/>
                  </a:rPr>
                  <a:t>*Intent Clustering</a:t>
                </a:r>
                <a:endParaRPr kumimoji="1" lang="en-US" sz="1200" i="0" u="none" strike="noStrike" cap="none" normalizeH="0" baseline="0">
                  <a:ln>
                    <a:noFill/>
                  </a:ln>
                  <a:solidFill>
                    <a:srgbClr val="FF0000"/>
                  </a:solidFill>
                  <a:effectLst/>
                  <a:latin typeface="+mn-lt"/>
                  <a:ea typeface="+mn-ea"/>
                </a:endParaRPr>
              </a:p>
            </p:txBody>
          </p:sp>
          <p:sp>
            <p:nvSpPr>
              <p:cNvPr id="16" name="Chevron 6">
                <a:extLst>
                  <a:ext uri="{FF2B5EF4-FFF2-40B4-BE49-F238E27FC236}">
                    <a16:creationId xmlns:a16="http://schemas.microsoft.com/office/drawing/2014/main" id="{62DAA095-2CDE-C97C-97CD-43A9F88B00C5}"/>
                  </a:ext>
                </a:extLst>
              </p:cNvPr>
              <p:cNvSpPr/>
              <p:nvPr/>
            </p:nvSpPr>
            <p:spPr bwMode="auto">
              <a:xfrm>
                <a:off x="5741008" y="1452462"/>
                <a:ext cx="1612596" cy="396044"/>
              </a:xfrm>
              <a:prstGeom prst="chevron">
                <a:avLst/>
              </a:prstGeom>
              <a:solidFill>
                <a:schemeClr val="tx2"/>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a:solidFill>
                      <a:schemeClr val="bg1"/>
                    </a:solidFill>
                    <a:latin typeface="+mn-lt"/>
                    <a:ea typeface="+mn-ea"/>
                  </a:rPr>
                  <a:t>*Model Integration</a:t>
                </a:r>
                <a:endParaRPr kumimoji="1" lang="en-US" sz="1200" i="0" u="none" strike="noStrike" cap="none" normalizeH="0" baseline="0">
                  <a:ln>
                    <a:noFill/>
                  </a:ln>
                  <a:solidFill>
                    <a:schemeClr val="bg1"/>
                  </a:solidFill>
                  <a:effectLst/>
                  <a:latin typeface="+mn-lt"/>
                  <a:ea typeface="+mn-ea"/>
                </a:endParaRPr>
              </a:p>
            </p:txBody>
          </p:sp>
        </p:grpSp>
        <p:sp>
          <p:nvSpPr>
            <p:cNvPr id="6" name="Rectangle 5">
              <a:extLst>
                <a:ext uri="{FF2B5EF4-FFF2-40B4-BE49-F238E27FC236}">
                  <a16:creationId xmlns:a16="http://schemas.microsoft.com/office/drawing/2014/main" id="{C191783B-3F4E-CCA2-BE70-B8D5E95129CE}"/>
                </a:ext>
              </a:extLst>
            </p:cNvPr>
            <p:cNvSpPr/>
            <p:nvPr/>
          </p:nvSpPr>
          <p:spPr bwMode="auto">
            <a:xfrm>
              <a:off x="2429731" y="2881038"/>
              <a:ext cx="1718590" cy="3824326"/>
            </a:xfrm>
            <a:prstGeom prst="rect">
              <a:avLst/>
            </a:prstGeom>
            <a:solidFill>
              <a:schemeClr val="accent1"/>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sp>
          <p:nvSpPr>
            <p:cNvPr id="11" name="TextBox 10">
              <a:extLst>
                <a:ext uri="{FF2B5EF4-FFF2-40B4-BE49-F238E27FC236}">
                  <a16:creationId xmlns:a16="http://schemas.microsoft.com/office/drawing/2014/main" id="{6A793A5A-F86F-D598-89FE-6EDA04C09B24}"/>
                </a:ext>
              </a:extLst>
            </p:cNvPr>
            <p:cNvSpPr txBox="1"/>
            <p:nvPr/>
          </p:nvSpPr>
          <p:spPr>
            <a:xfrm>
              <a:off x="2429731" y="1937778"/>
              <a:ext cx="1738574" cy="898126"/>
            </a:xfrm>
            <a:prstGeom prst="rect">
              <a:avLst/>
            </a:prstGeom>
            <a:noFill/>
          </p:spPr>
          <p:txBody>
            <a:bodyPr wrap="square" lIns="36000" tIns="36000" rIns="36000" bIns="0" rtlCol="0">
              <a:spAutoFit/>
            </a:bodyPr>
            <a:lstStyle/>
            <a:p>
              <a:pPr marL="171450" indent="-171450">
                <a:buFont typeface="Arial" panose="020B0604020202020204" pitchFamily="34" charset="0"/>
                <a:buChar char="•"/>
              </a:pPr>
              <a:r>
                <a:rPr lang="en-US" sz="1400">
                  <a:latin typeface="+mn-lt"/>
                  <a:ea typeface="+mn-ea"/>
                </a:rPr>
                <a:t>Labelled Data Generation for model training</a:t>
              </a:r>
            </a:p>
            <a:p>
              <a:pPr marL="171450" indent="-171450">
                <a:buFont typeface="Arial" panose="020B0604020202020204" pitchFamily="34" charset="0"/>
                <a:buChar char="•"/>
              </a:pPr>
              <a:r>
                <a:rPr kumimoji="1" lang="en-US" sz="1400">
                  <a:latin typeface="+mn-lt"/>
                  <a:ea typeface="+mn-ea"/>
                </a:rPr>
                <a:t>Steps involved:</a:t>
              </a:r>
            </a:p>
          </p:txBody>
        </p:sp>
        <p:sp>
          <p:nvSpPr>
            <p:cNvPr id="13" name="TextBox 12">
              <a:extLst>
                <a:ext uri="{FF2B5EF4-FFF2-40B4-BE49-F238E27FC236}">
                  <a16:creationId xmlns:a16="http://schemas.microsoft.com/office/drawing/2014/main" id="{D60CD30C-0AFC-AA6B-6580-071DB238E72E}"/>
                </a:ext>
              </a:extLst>
            </p:cNvPr>
            <p:cNvSpPr txBox="1"/>
            <p:nvPr/>
          </p:nvSpPr>
          <p:spPr>
            <a:xfrm>
              <a:off x="2533177" y="4514384"/>
              <a:ext cx="1531682" cy="467239"/>
            </a:xfrm>
            <a:prstGeom prst="rect">
              <a:avLst/>
            </a:prstGeom>
            <a:noFill/>
          </p:spPr>
          <p:txBody>
            <a:bodyPr wrap="square" lIns="36000" tIns="36000" rIns="36000" bIns="0" rtlCol="0">
              <a:spAutoFit/>
            </a:bodyPr>
            <a:lstStyle/>
            <a:p>
              <a:pPr algn="ctr"/>
              <a:r>
                <a:rPr lang="en-US" sz="1400">
                  <a:latin typeface="+mn-lt"/>
                  <a:ea typeface="+mn-ea"/>
                </a:rPr>
                <a:t>Data Preprocessing</a:t>
              </a:r>
            </a:p>
          </p:txBody>
        </p:sp>
        <p:sp>
          <p:nvSpPr>
            <p:cNvPr id="21" name="AutoShape 41">
              <a:extLst>
                <a:ext uri="{FF2B5EF4-FFF2-40B4-BE49-F238E27FC236}">
                  <a16:creationId xmlns:a16="http://schemas.microsoft.com/office/drawing/2014/main" id="{A2802279-FEA1-A9E5-8C3D-B87D7F5B9C51}"/>
                </a:ext>
              </a:extLst>
            </p:cNvPr>
            <p:cNvSpPr>
              <a:spLocks noChangeArrowheads="1"/>
            </p:cNvSpPr>
            <p:nvPr/>
          </p:nvSpPr>
          <p:spPr bwMode="auto">
            <a:xfrm>
              <a:off x="3054833" y="3956875"/>
              <a:ext cx="497617" cy="467240"/>
            </a:xfrm>
            <a:prstGeom prst="downArrow">
              <a:avLst>
                <a:gd name="adj1" fmla="val 36460"/>
                <a:gd name="adj2" fmla="val 55773"/>
              </a:avLst>
            </a:prstGeom>
            <a:solidFill>
              <a:schemeClr val="tx2"/>
            </a:solidFill>
            <a:ln w="12700">
              <a:no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j-lt"/>
                <a:ea typeface="Meiryo UI"/>
                <a:cs typeface="+mn-cs"/>
              </a:endParaRPr>
            </a:p>
          </p:txBody>
        </p:sp>
        <p:sp>
          <p:nvSpPr>
            <p:cNvPr id="22" name="AutoShape 41">
              <a:extLst>
                <a:ext uri="{FF2B5EF4-FFF2-40B4-BE49-F238E27FC236}">
                  <a16:creationId xmlns:a16="http://schemas.microsoft.com/office/drawing/2014/main" id="{C274FCFF-97CF-2751-3CC9-0311B91DDE3A}"/>
                </a:ext>
              </a:extLst>
            </p:cNvPr>
            <p:cNvSpPr>
              <a:spLocks noChangeArrowheads="1"/>
            </p:cNvSpPr>
            <p:nvPr/>
          </p:nvSpPr>
          <p:spPr bwMode="auto">
            <a:xfrm>
              <a:off x="3046509" y="5046116"/>
              <a:ext cx="497617" cy="467240"/>
            </a:xfrm>
            <a:prstGeom prst="downArrow">
              <a:avLst>
                <a:gd name="adj1" fmla="val 36460"/>
                <a:gd name="adj2" fmla="val 55773"/>
              </a:avLst>
            </a:prstGeom>
            <a:solidFill>
              <a:schemeClr val="tx2"/>
            </a:solidFill>
            <a:ln w="12700">
              <a:no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j-lt"/>
                <a:ea typeface="Meiryo UI"/>
                <a:cs typeface="+mn-cs"/>
              </a:endParaRPr>
            </a:p>
          </p:txBody>
        </p:sp>
        <p:sp>
          <p:nvSpPr>
            <p:cNvPr id="23" name="TextBox 22">
              <a:extLst>
                <a:ext uri="{FF2B5EF4-FFF2-40B4-BE49-F238E27FC236}">
                  <a16:creationId xmlns:a16="http://schemas.microsoft.com/office/drawing/2014/main" id="{6D9EE408-2576-465B-CB91-3FEC7198A9C9}"/>
                </a:ext>
              </a:extLst>
            </p:cNvPr>
            <p:cNvSpPr txBox="1"/>
            <p:nvPr/>
          </p:nvSpPr>
          <p:spPr>
            <a:xfrm>
              <a:off x="2524621" y="5550280"/>
              <a:ext cx="1531682" cy="467239"/>
            </a:xfrm>
            <a:prstGeom prst="rect">
              <a:avLst/>
            </a:prstGeom>
            <a:noFill/>
          </p:spPr>
          <p:txBody>
            <a:bodyPr wrap="square" lIns="36000" tIns="36000" rIns="36000" bIns="0" rtlCol="0">
              <a:spAutoFit/>
            </a:bodyPr>
            <a:lstStyle/>
            <a:p>
              <a:pPr algn="ctr"/>
              <a:r>
                <a:rPr kumimoji="1" lang="en-US" sz="1400">
                  <a:latin typeface="+mn-lt"/>
                  <a:ea typeface="+mn-ea"/>
                </a:rPr>
                <a:t>Model Training &amp; Evaluation</a:t>
              </a:r>
            </a:p>
          </p:txBody>
        </p:sp>
        <p:sp>
          <p:nvSpPr>
            <p:cNvPr id="25" name="TextBox 24">
              <a:extLst>
                <a:ext uri="{FF2B5EF4-FFF2-40B4-BE49-F238E27FC236}">
                  <a16:creationId xmlns:a16="http://schemas.microsoft.com/office/drawing/2014/main" id="{42848E1A-4228-B5E1-9626-762BE96E8054}"/>
                </a:ext>
              </a:extLst>
            </p:cNvPr>
            <p:cNvSpPr txBox="1"/>
            <p:nvPr/>
          </p:nvSpPr>
          <p:spPr>
            <a:xfrm>
              <a:off x="2524621" y="2963708"/>
              <a:ext cx="1531682" cy="682682"/>
            </a:xfrm>
            <a:prstGeom prst="rect">
              <a:avLst/>
            </a:prstGeom>
            <a:noFill/>
          </p:spPr>
          <p:txBody>
            <a:bodyPr wrap="square" lIns="36000" tIns="36000" rIns="36000" bIns="0" rtlCol="0">
              <a:spAutoFit/>
            </a:bodyPr>
            <a:lstStyle/>
            <a:p>
              <a:pPr algn="ctr"/>
              <a:r>
                <a:rPr lang="en-US" sz="1400">
                  <a:latin typeface="+mn-lt"/>
                  <a:ea typeface="+mn-ea"/>
                </a:rPr>
                <a:t>Movie Reviews Sentiment label generation using Roberta Model</a:t>
              </a:r>
            </a:p>
          </p:txBody>
        </p:sp>
        <p:sp>
          <p:nvSpPr>
            <p:cNvPr id="27" name="Rectangle 26">
              <a:extLst>
                <a:ext uri="{FF2B5EF4-FFF2-40B4-BE49-F238E27FC236}">
                  <a16:creationId xmlns:a16="http://schemas.microsoft.com/office/drawing/2014/main" id="{E2452E23-7ADA-F7E7-4CE8-DCC029E24FE0}"/>
                </a:ext>
              </a:extLst>
            </p:cNvPr>
            <p:cNvSpPr/>
            <p:nvPr/>
          </p:nvSpPr>
          <p:spPr bwMode="auto">
            <a:xfrm>
              <a:off x="4288809" y="2972969"/>
              <a:ext cx="1612809" cy="3732396"/>
            </a:xfrm>
            <a:prstGeom prst="rect">
              <a:avLst/>
            </a:prstGeom>
            <a:solidFill>
              <a:schemeClr val="accent1"/>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sp>
          <p:nvSpPr>
            <p:cNvPr id="28" name="TextBox 27">
              <a:extLst>
                <a:ext uri="{FF2B5EF4-FFF2-40B4-BE49-F238E27FC236}">
                  <a16:creationId xmlns:a16="http://schemas.microsoft.com/office/drawing/2014/main" id="{77786628-F335-5B08-0DAC-1C0440A858AA}"/>
                </a:ext>
              </a:extLst>
            </p:cNvPr>
            <p:cNvSpPr txBox="1"/>
            <p:nvPr/>
          </p:nvSpPr>
          <p:spPr>
            <a:xfrm>
              <a:off x="4296623" y="1952255"/>
              <a:ext cx="1593010" cy="898126"/>
            </a:xfrm>
            <a:prstGeom prst="rect">
              <a:avLst/>
            </a:prstGeom>
            <a:noFill/>
          </p:spPr>
          <p:txBody>
            <a:bodyPr wrap="square" lIns="36000" tIns="36000" rIns="36000" bIns="0" rtlCol="0">
              <a:spAutoFit/>
            </a:bodyPr>
            <a:lstStyle/>
            <a:p>
              <a:pPr marL="171450" indent="-171450">
                <a:buFont typeface="Arial" panose="020B0604020202020204" pitchFamily="34" charset="0"/>
                <a:buChar char="•"/>
              </a:pPr>
              <a:r>
                <a:rPr lang="en-US" sz="1400">
                  <a:latin typeface="+mn-lt"/>
                  <a:ea typeface="+mn-ea"/>
                </a:rPr>
                <a:t>Intent Clustering Technique Evaluation</a:t>
              </a:r>
            </a:p>
            <a:p>
              <a:pPr marL="171450" indent="-171450">
                <a:buFont typeface="Arial" panose="020B0604020202020204" pitchFamily="34" charset="0"/>
                <a:buChar char="•"/>
              </a:pPr>
              <a:r>
                <a:rPr kumimoji="1" lang="en-US" sz="1400">
                  <a:latin typeface="+mn-lt"/>
                  <a:ea typeface="+mn-ea"/>
                </a:rPr>
                <a:t>Steps Involved:</a:t>
              </a:r>
            </a:p>
          </p:txBody>
        </p:sp>
        <p:sp>
          <p:nvSpPr>
            <p:cNvPr id="31" name="TextBox 30">
              <a:extLst>
                <a:ext uri="{FF2B5EF4-FFF2-40B4-BE49-F238E27FC236}">
                  <a16:creationId xmlns:a16="http://schemas.microsoft.com/office/drawing/2014/main" id="{EFAF42D9-9F83-7207-54B8-D0F7A91FC3B4}"/>
                </a:ext>
              </a:extLst>
            </p:cNvPr>
            <p:cNvSpPr txBox="1"/>
            <p:nvPr/>
          </p:nvSpPr>
          <p:spPr>
            <a:xfrm>
              <a:off x="4266907" y="5807940"/>
              <a:ext cx="1612809" cy="682682"/>
            </a:xfrm>
            <a:prstGeom prst="rect">
              <a:avLst/>
            </a:prstGeom>
            <a:noFill/>
          </p:spPr>
          <p:txBody>
            <a:bodyPr wrap="square" lIns="36000" tIns="36000" rIns="36000" bIns="0" rtlCol="0">
              <a:spAutoFit/>
            </a:bodyPr>
            <a:lstStyle/>
            <a:p>
              <a:pPr algn="ctr"/>
              <a:r>
                <a:rPr lang="en-US" sz="1400">
                  <a:latin typeface="+mn-lt"/>
                  <a:ea typeface="+mn-ea"/>
                </a:rPr>
                <a:t>Intent Clustering Technique Evaluation</a:t>
              </a:r>
              <a:endParaRPr kumimoji="1" lang="en-US" sz="1400">
                <a:latin typeface="+mn-lt"/>
                <a:ea typeface="+mn-ea"/>
              </a:endParaRPr>
            </a:p>
          </p:txBody>
        </p:sp>
        <p:sp>
          <p:nvSpPr>
            <p:cNvPr id="29" name="TextBox 28">
              <a:extLst>
                <a:ext uri="{FF2B5EF4-FFF2-40B4-BE49-F238E27FC236}">
                  <a16:creationId xmlns:a16="http://schemas.microsoft.com/office/drawing/2014/main" id="{9BEA2BE4-39A1-DC74-78A8-6512FC64D50E}"/>
                </a:ext>
              </a:extLst>
            </p:cNvPr>
            <p:cNvSpPr txBox="1"/>
            <p:nvPr/>
          </p:nvSpPr>
          <p:spPr>
            <a:xfrm>
              <a:off x="4399593" y="4546554"/>
              <a:ext cx="1361127" cy="467239"/>
            </a:xfrm>
            <a:prstGeom prst="rect">
              <a:avLst/>
            </a:prstGeom>
            <a:noFill/>
          </p:spPr>
          <p:txBody>
            <a:bodyPr wrap="square" lIns="36000" tIns="36000" rIns="36000" bIns="0" rtlCol="0">
              <a:spAutoFit/>
            </a:bodyPr>
            <a:lstStyle/>
            <a:p>
              <a:pPr algn="ctr"/>
              <a:r>
                <a:rPr kumimoji="1" lang="en-US" sz="1400">
                  <a:latin typeface="+mn-lt"/>
                  <a:ea typeface="+mn-ea"/>
                </a:rPr>
                <a:t>Movie Review Dataset</a:t>
              </a:r>
            </a:p>
          </p:txBody>
        </p:sp>
        <p:sp>
          <p:nvSpPr>
            <p:cNvPr id="34" name="TextBox 33">
              <a:extLst>
                <a:ext uri="{FF2B5EF4-FFF2-40B4-BE49-F238E27FC236}">
                  <a16:creationId xmlns:a16="http://schemas.microsoft.com/office/drawing/2014/main" id="{CB905791-57AF-BD83-2660-748CE5D94A84}"/>
                </a:ext>
              </a:extLst>
            </p:cNvPr>
            <p:cNvSpPr txBox="1"/>
            <p:nvPr/>
          </p:nvSpPr>
          <p:spPr>
            <a:xfrm>
              <a:off x="4322790" y="3239176"/>
              <a:ext cx="1612809" cy="467239"/>
            </a:xfrm>
            <a:prstGeom prst="rect">
              <a:avLst/>
            </a:prstGeom>
            <a:noFill/>
          </p:spPr>
          <p:txBody>
            <a:bodyPr wrap="square" lIns="36000" tIns="36000" rIns="36000" bIns="0" rtlCol="0">
              <a:spAutoFit/>
            </a:bodyPr>
            <a:lstStyle/>
            <a:p>
              <a:pPr algn="ctr"/>
              <a:r>
                <a:rPr lang="en-US" sz="1400">
                  <a:latin typeface="+mn-lt"/>
                  <a:ea typeface="+mn-ea"/>
                </a:rPr>
                <a:t>Apply Clustering technique</a:t>
              </a:r>
            </a:p>
          </p:txBody>
        </p:sp>
        <p:sp>
          <p:nvSpPr>
            <p:cNvPr id="36" name="AutoShape 41">
              <a:extLst>
                <a:ext uri="{FF2B5EF4-FFF2-40B4-BE49-F238E27FC236}">
                  <a16:creationId xmlns:a16="http://schemas.microsoft.com/office/drawing/2014/main" id="{AA77C912-8001-410F-E6E4-41BE2353FF88}"/>
                </a:ext>
              </a:extLst>
            </p:cNvPr>
            <p:cNvSpPr>
              <a:spLocks noChangeArrowheads="1"/>
            </p:cNvSpPr>
            <p:nvPr/>
          </p:nvSpPr>
          <p:spPr bwMode="auto">
            <a:xfrm>
              <a:off x="4813523" y="3956726"/>
              <a:ext cx="497617" cy="467240"/>
            </a:xfrm>
            <a:prstGeom prst="downArrow">
              <a:avLst>
                <a:gd name="adj1" fmla="val 36460"/>
                <a:gd name="adj2" fmla="val 55773"/>
              </a:avLst>
            </a:prstGeom>
            <a:solidFill>
              <a:schemeClr val="tx2"/>
            </a:solidFill>
            <a:ln w="12700">
              <a:no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j-lt"/>
                <a:ea typeface="Meiryo UI"/>
                <a:cs typeface="+mn-cs"/>
              </a:endParaRPr>
            </a:p>
          </p:txBody>
        </p:sp>
        <p:sp>
          <p:nvSpPr>
            <p:cNvPr id="37" name="AutoShape 41">
              <a:extLst>
                <a:ext uri="{FF2B5EF4-FFF2-40B4-BE49-F238E27FC236}">
                  <a16:creationId xmlns:a16="http://schemas.microsoft.com/office/drawing/2014/main" id="{1A3778D9-7A34-DBDC-C5DF-25AD245E91F6}"/>
                </a:ext>
              </a:extLst>
            </p:cNvPr>
            <p:cNvSpPr>
              <a:spLocks noChangeArrowheads="1"/>
            </p:cNvSpPr>
            <p:nvPr/>
          </p:nvSpPr>
          <p:spPr bwMode="auto">
            <a:xfrm>
              <a:off x="4813523" y="5197566"/>
              <a:ext cx="497617" cy="467240"/>
            </a:xfrm>
            <a:prstGeom prst="downArrow">
              <a:avLst>
                <a:gd name="adj1" fmla="val 36460"/>
                <a:gd name="adj2" fmla="val 55773"/>
              </a:avLst>
            </a:prstGeom>
            <a:solidFill>
              <a:schemeClr val="tx2"/>
            </a:solidFill>
            <a:ln w="12700">
              <a:no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j-lt"/>
                <a:ea typeface="Meiryo UI"/>
                <a:cs typeface="+mn-cs"/>
              </a:endParaRPr>
            </a:p>
          </p:txBody>
        </p:sp>
        <p:sp>
          <p:nvSpPr>
            <p:cNvPr id="39" name="TextBox 38">
              <a:extLst>
                <a:ext uri="{FF2B5EF4-FFF2-40B4-BE49-F238E27FC236}">
                  <a16:creationId xmlns:a16="http://schemas.microsoft.com/office/drawing/2014/main" id="{BAB1BD14-AB79-5015-F506-530AB761A6B4}"/>
                </a:ext>
              </a:extLst>
            </p:cNvPr>
            <p:cNvSpPr txBox="1"/>
            <p:nvPr/>
          </p:nvSpPr>
          <p:spPr>
            <a:xfrm>
              <a:off x="7673609" y="1955954"/>
              <a:ext cx="2117335" cy="2621675"/>
            </a:xfrm>
            <a:prstGeom prst="rect">
              <a:avLst/>
            </a:prstGeom>
            <a:noFill/>
          </p:spPr>
          <p:txBody>
            <a:bodyPr wrap="square" lIns="36000" tIns="36000" rIns="36000" bIns="0" rtlCol="0">
              <a:spAutoFit/>
            </a:bodyPr>
            <a:lstStyle/>
            <a:p>
              <a:pPr marL="171450" indent="-171450">
                <a:buFont typeface="Arial" panose="020B0604020202020204" pitchFamily="34" charset="0"/>
                <a:buChar char="•"/>
              </a:pPr>
              <a:r>
                <a:rPr lang="en-US" sz="1400">
                  <a:latin typeface="+mn-lt"/>
                  <a:ea typeface="+mn-ea"/>
                </a:rPr>
                <a:t>Deployment of the model together with User Interface allowing the user to get the sentiment and the intent behind the sentiment that helps them in the movie production process</a:t>
              </a:r>
              <a:endParaRPr kumimoji="1" lang="en-US" sz="1400">
                <a:latin typeface="+mn-lt"/>
                <a:ea typeface="+mn-ea"/>
              </a:endParaRPr>
            </a:p>
            <a:p>
              <a:pPr marL="171450" indent="-171450">
                <a:buFont typeface="Arial" panose="020B0604020202020204" pitchFamily="34" charset="0"/>
                <a:buChar char="•"/>
              </a:pPr>
              <a:endParaRPr kumimoji="1" lang="en-US" sz="1400">
                <a:latin typeface="+mn-lt"/>
                <a:ea typeface="+mn-ea"/>
              </a:endParaRPr>
            </a:p>
            <a:p>
              <a:endParaRPr kumimoji="1" lang="en-US" sz="1400" b="1">
                <a:latin typeface="+mn-lt"/>
                <a:ea typeface="+mn-ea"/>
              </a:endParaRPr>
            </a:p>
            <a:p>
              <a:pPr marL="171450" indent="-171450">
                <a:buFont typeface="Arial" panose="020B0604020202020204" pitchFamily="34" charset="0"/>
                <a:buChar char="•"/>
              </a:pPr>
              <a:endParaRPr kumimoji="1" lang="en-US" sz="1400">
                <a:latin typeface="+mn-lt"/>
                <a:ea typeface="+mn-ea"/>
              </a:endParaRPr>
            </a:p>
          </p:txBody>
        </p:sp>
        <p:sp>
          <p:nvSpPr>
            <p:cNvPr id="43" name="TextBox 42">
              <a:extLst>
                <a:ext uri="{FF2B5EF4-FFF2-40B4-BE49-F238E27FC236}">
                  <a16:creationId xmlns:a16="http://schemas.microsoft.com/office/drawing/2014/main" id="{BD250FF7-556F-B381-9823-ABC79A0CF2D3}"/>
                </a:ext>
              </a:extLst>
            </p:cNvPr>
            <p:cNvSpPr txBox="1"/>
            <p:nvPr/>
          </p:nvSpPr>
          <p:spPr>
            <a:xfrm>
              <a:off x="6017464" y="1952255"/>
              <a:ext cx="1593010" cy="1329013"/>
            </a:xfrm>
            <a:prstGeom prst="rect">
              <a:avLst/>
            </a:prstGeom>
            <a:noFill/>
          </p:spPr>
          <p:txBody>
            <a:bodyPr wrap="square" lIns="36000" tIns="36000" rIns="36000" bIns="0" rtlCol="0" anchor="t">
              <a:spAutoFit/>
            </a:bodyPr>
            <a:lstStyle/>
            <a:p>
              <a:pPr marL="171450" indent="-171450">
                <a:buFont typeface="Arial" panose="020B0604020202020204" pitchFamily="34" charset="0"/>
                <a:buChar char="•"/>
              </a:pPr>
              <a:r>
                <a:rPr lang="en-US" sz="1400">
                  <a:latin typeface="+mn-lt"/>
                  <a:ea typeface="+mn-ea"/>
                </a:rPr>
                <a:t>Integrating intent clustering &amp; sentiment model on business queries.</a:t>
              </a:r>
            </a:p>
            <a:p>
              <a:pPr marL="171450" indent="-171450">
                <a:buFont typeface="Arial" panose="020B0604020202020204" pitchFamily="34" charset="0"/>
                <a:buChar char="•"/>
              </a:pPr>
              <a:r>
                <a:rPr kumimoji="1" lang="en-US" sz="1400">
                  <a:latin typeface="+mn-lt"/>
                  <a:ea typeface="+mn-ea"/>
                </a:rPr>
                <a:t>Steps Involved:</a:t>
              </a:r>
              <a:endParaRPr lang="en-US" sz="1400">
                <a:latin typeface="+mn-lt"/>
                <a:ea typeface="+mn-ea"/>
                <a:cs typeface="Segoe UI"/>
              </a:endParaRPr>
            </a:p>
          </p:txBody>
        </p:sp>
        <p:sp>
          <p:nvSpPr>
            <p:cNvPr id="44" name="Rectangle 43">
              <a:extLst>
                <a:ext uri="{FF2B5EF4-FFF2-40B4-BE49-F238E27FC236}">
                  <a16:creationId xmlns:a16="http://schemas.microsoft.com/office/drawing/2014/main" id="{F8B2A567-9743-54C0-5A0B-1806BD569EC7}"/>
                </a:ext>
              </a:extLst>
            </p:cNvPr>
            <p:cNvSpPr/>
            <p:nvPr/>
          </p:nvSpPr>
          <p:spPr bwMode="auto">
            <a:xfrm>
              <a:off x="2516818" y="6017519"/>
              <a:ext cx="1531682" cy="614025"/>
            </a:xfrm>
            <a:prstGeom prst="rect">
              <a:avLst/>
            </a:prstGeom>
            <a:solidFill>
              <a:schemeClr val="bg1"/>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r>
                <a:rPr lang="en-US" sz="1100">
                  <a:latin typeface="+mn-lt"/>
                  <a:ea typeface="+mn-ea"/>
                </a:rPr>
                <a:t>- Naïve Bayes</a:t>
              </a:r>
            </a:p>
            <a:p>
              <a:r>
                <a:rPr kumimoji="1" lang="en-US" sz="1100">
                  <a:latin typeface="+mn-lt"/>
                  <a:ea typeface="+mn-ea"/>
                </a:rPr>
                <a:t>- *RNN (LSTM)</a:t>
              </a:r>
            </a:p>
            <a:p>
              <a:r>
                <a:rPr lang="en-US" sz="1100">
                  <a:latin typeface="+mn-lt"/>
                  <a:ea typeface="+mn-ea"/>
                </a:rPr>
                <a:t>- *SVM</a:t>
              </a:r>
              <a:endParaRPr kumimoji="1" lang="en-US" sz="1100">
                <a:latin typeface="+mn-lt"/>
                <a:ea typeface="+mn-ea"/>
              </a:endParaRPr>
            </a:p>
          </p:txBody>
        </p:sp>
        <p:grpSp>
          <p:nvGrpSpPr>
            <p:cNvPr id="53" name="Group 52">
              <a:extLst>
                <a:ext uri="{FF2B5EF4-FFF2-40B4-BE49-F238E27FC236}">
                  <a16:creationId xmlns:a16="http://schemas.microsoft.com/office/drawing/2014/main" id="{176D0498-0777-C542-7878-1B3F3340BECE}"/>
                </a:ext>
              </a:extLst>
            </p:cNvPr>
            <p:cNvGrpSpPr/>
            <p:nvPr/>
          </p:nvGrpSpPr>
          <p:grpSpPr>
            <a:xfrm>
              <a:off x="6026028" y="3515360"/>
              <a:ext cx="1647581" cy="3190004"/>
              <a:chOff x="6026028" y="3515360"/>
              <a:chExt cx="1647581" cy="3190004"/>
            </a:xfrm>
          </p:grpSpPr>
          <p:sp>
            <p:nvSpPr>
              <p:cNvPr id="46" name="Rectangle 45">
                <a:extLst>
                  <a:ext uri="{FF2B5EF4-FFF2-40B4-BE49-F238E27FC236}">
                    <a16:creationId xmlns:a16="http://schemas.microsoft.com/office/drawing/2014/main" id="{24B46839-57EB-23B9-0F9C-9AB343FF0CA9}"/>
                  </a:ext>
                </a:extLst>
              </p:cNvPr>
              <p:cNvSpPr/>
              <p:nvPr/>
            </p:nvSpPr>
            <p:spPr bwMode="auto">
              <a:xfrm>
                <a:off x="6026028" y="3515360"/>
                <a:ext cx="1647581" cy="3190004"/>
              </a:xfrm>
              <a:prstGeom prst="rect">
                <a:avLst/>
              </a:prstGeom>
              <a:solidFill>
                <a:schemeClr val="accent1"/>
              </a:solidFill>
              <a:ln w="12700" cap="flat" cmpd="sng" algn="ctr">
                <a:noFill/>
                <a:prstDash val="solid"/>
                <a:round/>
                <a:headEnd type="none" w="med" len="med"/>
                <a:tailEnd type="none" w="med" len="med"/>
              </a:ln>
              <a:effectLst/>
            </p:spPr>
            <p:txBody>
              <a:bodyPr vert="horz" wrap="none" lIns="36000" tIns="36000" rIns="36000" bIns="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en-US" sz="1400" b="0" i="0" u="none" strike="noStrike" cap="none" normalizeH="0" baseline="0">
                  <a:ln>
                    <a:noFill/>
                  </a:ln>
                  <a:solidFill>
                    <a:schemeClr val="tx2"/>
                  </a:solidFill>
                  <a:effectLst/>
                  <a:latin typeface="+mn-lt"/>
                  <a:ea typeface="+mn-ea"/>
                </a:endParaRPr>
              </a:p>
            </p:txBody>
          </p:sp>
          <p:sp>
            <p:nvSpPr>
              <p:cNvPr id="47" name="TextBox 46">
                <a:extLst>
                  <a:ext uri="{FF2B5EF4-FFF2-40B4-BE49-F238E27FC236}">
                    <a16:creationId xmlns:a16="http://schemas.microsoft.com/office/drawing/2014/main" id="{E7CEC116-892C-F35D-57C7-8180A6BDEE6A}"/>
                  </a:ext>
                </a:extLst>
              </p:cNvPr>
              <p:cNvSpPr txBox="1"/>
              <p:nvPr/>
            </p:nvSpPr>
            <p:spPr>
              <a:xfrm>
                <a:off x="6100576" y="3544872"/>
                <a:ext cx="1531682" cy="251795"/>
              </a:xfrm>
              <a:prstGeom prst="rect">
                <a:avLst/>
              </a:prstGeom>
              <a:noFill/>
            </p:spPr>
            <p:txBody>
              <a:bodyPr wrap="square" lIns="36000" tIns="36000" rIns="36000" bIns="0" rtlCol="0">
                <a:spAutoFit/>
              </a:bodyPr>
              <a:lstStyle/>
              <a:p>
                <a:pPr algn="ctr"/>
                <a:r>
                  <a:rPr lang="en-US" sz="1400">
                    <a:latin typeface="+mn-lt"/>
                    <a:ea typeface="+mn-ea"/>
                  </a:rPr>
                  <a:t>Movie Review</a:t>
                </a:r>
              </a:p>
            </p:txBody>
          </p:sp>
          <p:sp>
            <p:nvSpPr>
              <p:cNvPr id="48" name="AutoShape 41">
                <a:extLst>
                  <a:ext uri="{FF2B5EF4-FFF2-40B4-BE49-F238E27FC236}">
                    <a16:creationId xmlns:a16="http://schemas.microsoft.com/office/drawing/2014/main" id="{C0A57E80-17C1-7B16-C384-BD8C055D18A5}"/>
                  </a:ext>
                </a:extLst>
              </p:cNvPr>
              <p:cNvSpPr>
                <a:spLocks noChangeArrowheads="1"/>
              </p:cNvSpPr>
              <p:nvPr/>
            </p:nvSpPr>
            <p:spPr bwMode="auto">
              <a:xfrm>
                <a:off x="6640246" y="3877389"/>
                <a:ext cx="497617" cy="467240"/>
              </a:xfrm>
              <a:prstGeom prst="downArrow">
                <a:avLst>
                  <a:gd name="adj1" fmla="val 36460"/>
                  <a:gd name="adj2" fmla="val 55773"/>
                </a:avLst>
              </a:prstGeom>
              <a:solidFill>
                <a:schemeClr val="tx2"/>
              </a:solidFill>
              <a:ln w="12700">
                <a:no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j-lt"/>
                  <a:ea typeface="Meiryo UI"/>
                  <a:cs typeface="+mn-cs"/>
                </a:endParaRPr>
              </a:p>
            </p:txBody>
          </p:sp>
          <p:sp>
            <p:nvSpPr>
              <p:cNvPr id="49" name="TextBox 48">
                <a:extLst>
                  <a:ext uri="{FF2B5EF4-FFF2-40B4-BE49-F238E27FC236}">
                    <a16:creationId xmlns:a16="http://schemas.microsoft.com/office/drawing/2014/main" id="{004F91C2-8977-A39F-6722-121FA382D377}"/>
                  </a:ext>
                </a:extLst>
              </p:cNvPr>
              <p:cNvSpPr txBox="1"/>
              <p:nvPr/>
            </p:nvSpPr>
            <p:spPr>
              <a:xfrm>
                <a:off x="6026028" y="4451348"/>
                <a:ext cx="1612809" cy="682682"/>
              </a:xfrm>
              <a:prstGeom prst="rect">
                <a:avLst/>
              </a:prstGeom>
              <a:noFill/>
            </p:spPr>
            <p:txBody>
              <a:bodyPr wrap="square" lIns="36000" tIns="36000" rIns="36000" bIns="0" rtlCol="0">
                <a:spAutoFit/>
              </a:bodyPr>
              <a:lstStyle/>
              <a:p>
                <a:pPr algn="ctr"/>
                <a:r>
                  <a:rPr lang="en-US" sz="1400">
                    <a:latin typeface="+mn-lt"/>
                    <a:ea typeface="+mn-ea"/>
                  </a:rPr>
                  <a:t>Best Performing</a:t>
                </a:r>
              </a:p>
              <a:p>
                <a:pPr algn="ctr"/>
                <a:r>
                  <a:rPr lang="en-US" sz="1400">
                    <a:latin typeface="+mn-lt"/>
                    <a:ea typeface="+mn-ea"/>
                  </a:rPr>
                  <a:t>Intent Clustering Technique </a:t>
                </a:r>
                <a:endParaRPr kumimoji="1" lang="en-US" sz="1400">
                  <a:latin typeface="+mn-lt"/>
                  <a:ea typeface="+mn-ea"/>
                </a:endParaRPr>
              </a:p>
            </p:txBody>
          </p:sp>
          <p:sp>
            <p:nvSpPr>
              <p:cNvPr id="50" name="AutoShape 41">
                <a:extLst>
                  <a:ext uri="{FF2B5EF4-FFF2-40B4-BE49-F238E27FC236}">
                    <a16:creationId xmlns:a16="http://schemas.microsoft.com/office/drawing/2014/main" id="{E3750A13-DBD2-6D0F-741E-53C8E455A1BF}"/>
                  </a:ext>
                </a:extLst>
              </p:cNvPr>
              <p:cNvSpPr>
                <a:spLocks noChangeArrowheads="1"/>
              </p:cNvSpPr>
              <p:nvPr/>
            </p:nvSpPr>
            <p:spPr bwMode="auto">
              <a:xfrm>
                <a:off x="6640244" y="5247791"/>
                <a:ext cx="497617" cy="467240"/>
              </a:xfrm>
              <a:prstGeom prst="downArrow">
                <a:avLst>
                  <a:gd name="adj1" fmla="val 36460"/>
                  <a:gd name="adj2" fmla="val 55773"/>
                </a:avLst>
              </a:prstGeom>
              <a:solidFill>
                <a:schemeClr val="tx2"/>
              </a:solidFill>
              <a:ln w="12700">
                <a:noFill/>
                <a:miter lim="800000"/>
                <a:headEnd/>
                <a:tailEnd/>
              </a:ln>
            </p:spPr>
            <p:txBody>
              <a:bodyPr wrap="none" lIns="36000" tIns="36000" rIns="36000" bIns="360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mj-lt"/>
                  <a:ea typeface="Meiryo UI"/>
                  <a:cs typeface="+mn-cs"/>
                </a:endParaRPr>
              </a:p>
            </p:txBody>
          </p:sp>
          <p:sp>
            <p:nvSpPr>
              <p:cNvPr id="51" name="TextBox 50">
                <a:extLst>
                  <a:ext uri="{FF2B5EF4-FFF2-40B4-BE49-F238E27FC236}">
                    <a16:creationId xmlns:a16="http://schemas.microsoft.com/office/drawing/2014/main" id="{22919DDC-98F7-68DD-A78A-40E35077B66A}"/>
                  </a:ext>
                </a:extLst>
              </p:cNvPr>
              <p:cNvSpPr txBox="1"/>
              <p:nvPr/>
            </p:nvSpPr>
            <p:spPr>
              <a:xfrm>
                <a:off x="6060009" y="5802524"/>
                <a:ext cx="1612809" cy="682682"/>
              </a:xfrm>
              <a:prstGeom prst="rect">
                <a:avLst/>
              </a:prstGeom>
              <a:noFill/>
            </p:spPr>
            <p:txBody>
              <a:bodyPr wrap="square" lIns="36000" tIns="36000" rIns="36000" bIns="0" rtlCol="0">
                <a:spAutoFit/>
              </a:bodyPr>
              <a:lstStyle/>
              <a:p>
                <a:pPr algn="ctr"/>
                <a:r>
                  <a:rPr lang="en-US" sz="1400">
                    <a:latin typeface="+mn-lt"/>
                    <a:ea typeface="+mn-ea"/>
                  </a:rPr>
                  <a:t>Best Performing Sentiment Analysis Model</a:t>
                </a:r>
                <a:endParaRPr kumimoji="1" lang="en-US" sz="1400">
                  <a:latin typeface="+mn-lt"/>
                  <a:ea typeface="+mn-ea"/>
                </a:endParaRPr>
              </a:p>
            </p:txBody>
          </p:sp>
        </p:grpSp>
      </p:grpSp>
      <p:sp>
        <p:nvSpPr>
          <p:cNvPr id="52" name="Rectangle 3">
            <a:extLst>
              <a:ext uri="{FF2B5EF4-FFF2-40B4-BE49-F238E27FC236}">
                <a16:creationId xmlns:a16="http://schemas.microsoft.com/office/drawing/2014/main" id="{833FB0CD-62AE-09AA-418F-E10C2CBEA79C}"/>
              </a:ext>
            </a:extLst>
          </p:cNvPr>
          <p:cNvSpPr txBox="1">
            <a:spLocks noChangeArrowheads="1"/>
          </p:cNvSpPr>
          <p:nvPr/>
        </p:nvSpPr>
        <p:spPr bwMode="auto">
          <a:xfrm>
            <a:off x="48429" y="6671514"/>
            <a:ext cx="4368701" cy="24389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72000" rIns="72000" bIns="72000" numCol="1" anchor="b" anchorCtr="0" compatLnSpc="1">
            <a:prstTxWarp prst="textNoShape">
              <a:avLst/>
            </a:prstTxWarp>
            <a:spAutoFit/>
          </a:bodyPr>
          <a:lstStyle>
            <a:lvl1pPr algn="l" rtl="0" eaLnBrk="1" fontAlgn="base" hangingPunct="1">
              <a:spcBef>
                <a:spcPts val="600"/>
              </a:spcBef>
              <a:spcAft>
                <a:spcPct val="0"/>
              </a:spcAft>
              <a:defRPr kumimoji="1" sz="1600">
                <a:solidFill>
                  <a:schemeClr val="tx1"/>
                </a:solidFill>
                <a:latin typeface="+mn-lt"/>
                <a:ea typeface="+mn-ea"/>
                <a:cs typeface="メイリオ" pitchFamily="50" charset="-128"/>
              </a:defRPr>
            </a:lvl1pPr>
            <a:lvl2pPr marL="450850" indent="-196850" algn="l" rtl="0" eaLnBrk="1" fontAlgn="base" hangingPunct="1">
              <a:spcBef>
                <a:spcPts val="600"/>
              </a:spcBef>
              <a:spcAft>
                <a:spcPct val="0"/>
              </a:spcAft>
              <a:buSzPct val="90000"/>
              <a:buFont typeface="Arial" panose="020B0604020202020204" pitchFamily="34" charset="0"/>
              <a:buChar char="●"/>
              <a:defRPr kumimoji="1" sz="1600">
                <a:solidFill>
                  <a:schemeClr val="tx1"/>
                </a:solidFill>
                <a:latin typeface="+mn-lt"/>
                <a:ea typeface="+mn-ea"/>
                <a:cs typeface="メイリオ" pitchFamily="50" charset="-128"/>
              </a:defRPr>
            </a:lvl2pPr>
            <a:lvl3pPr marL="846138" indent="-179388" algn="l" rtl="0" eaLnBrk="1" fontAlgn="base" hangingPunct="1">
              <a:spcBef>
                <a:spcPts val="600"/>
              </a:spcBef>
              <a:spcAft>
                <a:spcPct val="0"/>
              </a:spcAft>
              <a:buSzPct val="90000"/>
              <a:buChar char="–"/>
              <a:defRPr kumimoji="1" sz="1600">
                <a:solidFill>
                  <a:schemeClr val="tx1"/>
                </a:solidFill>
                <a:latin typeface="+mn-lt"/>
                <a:ea typeface="+mn-ea"/>
                <a:cs typeface="メイリオ" pitchFamily="50" charset="-128"/>
              </a:defRPr>
            </a:lvl3pPr>
            <a:lvl4pPr marL="1228725" indent="-158750" algn="l" rtl="0" eaLnBrk="1" fontAlgn="base" hangingPunct="1">
              <a:spcBef>
                <a:spcPts val="600"/>
              </a:spcBef>
              <a:spcAft>
                <a:spcPct val="0"/>
              </a:spcAft>
              <a:buSzPct val="70000"/>
              <a:buFont typeface="Arial" panose="020B0604020202020204" pitchFamily="34" charset="0"/>
              <a:buChar char="○"/>
              <a:defRPr kumimoji="1" sz="1600">
                <a:solidFill>
                  <a:schemeClr val="tx1"/>
                </a:solidFill>
                <a:latin typeface="+mn-lt"/>
                <a:ea typeface="+mn-ea"/>
                <a:cs typeface="メイリオ" pitchFamily="50" charset="-128"/>
              </a:defRPr>
            </a:lvl4pPr>
            <a:lvl5pPr marL="1617663" indent="-176213" algn="l" rtl="0" eaLnBrk="1" fontAlgn="base" hangingPunct="1">
              <a:spcBef>
                <a:spcPts val="600"/>
              </a:spcBef>
              <a:spcAft>
                <a:spcPct val="0"/>
              </a:spcAft>
              <a:buSzPct val="70000"/>
              <a:buChar char="–"/>
              <a:defRPr kumimoji="1" sz="1600">
                <a:solidFill>
                  <a:schemeClr val="tx1"/>
                </a:solidFill>
                <a:latin typeface="+mn-lt"/>
                <a:ea typeface="+mn-ea"/>
                <a:cs typeface="メイリオ" pitchFamily="50" charset="-128"/>
              </a:defRPr>
            </a:lvl5pPr>
            <a:lvl6pPr marL="2038350" indent="0" algn="l" rtl="0" eaLnBrk="1" fontAlgn="base" hangingPunct="1">
              <a:spcBef>
                <a:spcPct val="30000"/>
              </a:spcBef>
              <a:spcAft>
                <a:spcPct val="0"/>
              </a:spcAft>
              <a:buSzPct val="70000"/>
              <a:buNone/>
              <a:defRPr kumimoji="1">
                <a:solidFill>
                  <a:schemeClr val="tx1"/>
                </a:solidFill>
                <a:latin typeface="+mn-lt"/>
                <a:ea typeface="+mn-ea"/>
              </a:defRPr>
            </a:lvl6pPr>
            <a:lvl7pPr marL="2724150" indent="-228600" algn="l" rtl="0" eaLnBrk="1" fontAlgn="base" hangingPunct="1">
              <a:spcBef>
                <a:spcPct val="30000"/>
              </a:spcBef>
              <a:spcAft>
                <a:spcPct val="0"/>
              </a:spcAft>
              <a:buSzPct val="70000"/>
              <a:buChar char="–"/>
              <a:defRPr kumimoji="1">
                <a:solidFill>
                  <a:schemeClr val="tx1"/>
                </a:solidFill>
                <a:latin typeface="+mn-lt"/>
                <a:ea typeface="+mn-ea"/>
              </a:defRPr>
            </a:lvl7pPr>
            <a:lvl8pPr marL="3181350" indent="-228600" algn="l" rtl="0" eaLnBrk="1" fontAlgn="base" hangingPunct="1">
              <a:spcBef>
                <a:spcPct val="30000"/>
              </a:spcBef>
              <a:spcAft>
                <a:spcPct val="0"/>
              </a:spcAft>
              <a:buSzPct val="70000"/>
              <a:buChar char="–"/>
              <a:defRPr kumimoji="1">
                <a:solidFill>
                  <a:schemeClr val="tx1"/>
                </a:solidFill>
                <a:latin typeface="+mn-lt"/>
                <a:ea typeface="+mn-ea"/>
              </a:defRPr>
            </a:lvl8pPr>
            <a:lvl9pPr marL="3638550" indent="-228600" algn="l" rtl="0" eaLnBrk="1" fontAlgn="base" hangingPunct="1">
              <a:spcBef>
                <a:spcPct val="30000"/>
              </a:spcBef>
              <a:spcAft>
                <a:spcPct val="0"/>
              </a:spcAft>
              <a:buSzPct val="70000"/>
              <a:buChar char="–"/>
              <a:defRPr kumimoji="1">
                <a:solidFill>
                  <a:schemeClr val="tx1"/>
                </a:solidFill>
                <a:latin typeface="+mn-lt"/>
                <a:ea typeface="+mn-ea"/>
              </a:defRPr>
            </a:lvl9pPr>
          </a:lstStyle>
          <a:p>
            <a:pPr defTabSz="538163">
              <a:lnSpc>
                <a:spcPct val="80000"/>
              </a:lnSpc>
              <a:spcBef>
                <a:spcPts val="0"/>
              </a:spcBef>
            </a:pPr>
            <a:r>
              <a:rPr lang="en-US" sz="800" baseline="30000">
                <a:latin typeface="+mn-lt"/>
                <a:ea typeface="+mn-ea"/>
              </a:rPr>
              <a:t>*</a:t>
            </a:r>
            <a:r>
              <a:rPr lang="en-US" altLang="ja-JP" sz="800">
                <a:cs typeface="Arial" panose="020B0604020202020204" pitchFamily="34" charset="0"/>
              </a:rPr>
              <a:t>   To be performed after the mid-point delivery</a:t>
            </a:r>
          </a:p>
        </p:txBody>
      </p:sp>
    </p:spTree>
    <p:extLst>
      <p:ext uri="{BB962C8B-B14F-4D97-AF65-F5344CB8AC3E}">
        <p14:creationId xmlns:p14="http://schemas.microsoft.com/office/powerpoint/2010/main" val="3172089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er.6">
  <a:themeElements>
    <a:clrScheme name="NSP（パワポ）">
      <a:dk1>
        <a:srgbClr val="4A4A4A"/>
      </a:dk1>
      <a:lt1>
        <a:srgbClr val="FFFFFF"/>
      </a:lt1>
      <a:dk2>
        <a:srgbClr val="202C5C"/>
      </a:dk2>
      <a:lt2>
        <a:srgbClr val="D8D8D8"/>
      </a:lt2>
      <a:accent1>
        <a:srgbClr val="E2F1FA"/>
      </a:accent1>
      <a:accent2>
        <a:srgbClr val="FFA29D"/>
      </a:accent2>
      <a:accent3>
        <a:srgbClr val="FFE5E5"/>
      </a:accent3>
      <a:accent4>
        <a:srgbClr val="4CA198"/>
      </a:accent4>
      <a:accent5>
        <a:srgbClr val="FED292"/>
      </a:accent5>
      <a:accent6>
        <a:srgbClr val="FFF659"/>
      </a:accent6>
      <a:hlink>
        <a:srgbClr val="949494"/>
      </a:hlink>
      <a:folHlink>
        <a:srgbClr val="4D80DD"/>
      </a:folHlink>
    </a:clrScheme>
    <a:fontScheme name="MeiryoUI+SegoeUI">
      <a:majorFont>
        <a:latin typeface="Segoe UI"/>
        <a:ea typeface="Meiryo UI"/>
        <a:cs typeface=""/>
      </a:majorFont>
      <a:minorFont>
        <a:latin typeface="Segoe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20000"/>
            <a:lumOff val="80000"/>
          </a:schemeClr>
        </a:solidFill>
        <a:ln w="12700" cap="flat" cmpd="sng" algn="ctr">
          <a:noFill/>
          <a:prstDash val="solid"/>
          <a:round/>
          <a:headEnd type="none" w="med" len="med"/>
          <a:tailEnd type="none" w="med" len="med"/>
        </a:ln>
        <a:effectLst/>
      </a:spPr>
      <a:bodyPr vert="horz" wrap="none" lIns="36000" tIns="36000" rIns="36000" bIns="0" numCol="1" rtlCol="0" anchor="ctr" anchorCtr="1"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smtClean="0">
            <a:ln>
              <a:noFill/>
            </a:ln>
            <a:solidFill>
              <a:schemeClr val="tx2"/>
            </a:solidFill>
            <a:effectLst/>
            <a:latin typeface="+mn-lt"/>
            <a:ea typeface="+mn-ea"/>
          </a:defRPr>
        </a:defPPr>
      </a:lstStyle>
    </a:spDef>
    <a:lnDef>
      <a:spPr bwMode="auto">
        <a:xfrm>
          <a:off x="0" y="0"/>
          <a:ext cx="1" cy="1"/>
        </a:xfrm>
        <a:custGeom>
          <a:avLst/>
          <a:gdLst/>
          <a:ahLst/>
          <a:cxnLst/>
          <a:rect l="0" t="0" r="0" b="0"/>
          <a:pathLst/>
        </a:custGeom>
        <a:solidFill>
          <a:srgbClr val="FF6600"/>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0" i="0" u="none" strike="noStrike" cap="none" normalizeH="0" baseline="0" smtClean="0">
            <a:ln>
              <a:noFill/>
            </a:ln>
            <a:solidFill>
              <a:schemeClr val="tx1"/>
            </a:solidFill>
            <a:effectLst/>
            <a:latin typeface="ＭＳ Ｐゴシック" pitchFamily="50" charset="-128"/>
            <a:ea typeface="ＭＳ Ｐゴシック" pitchFamily="50" charset="-128"/>
          </a:defRPr>
        </a:defPPr>
      </a:lstStyle>
    </a:lnDef>
    <a:txDef>
      <a:spPr>
        <a:noFill/>
      </a:spPr>
      <a:bodyPr wrap="none" lIns="36000" tIns="36000" rIns="36000" bIns="0" rtlCol="0">
        <a:spAutoFit/>
      </a:bodyPr>
      <a:lstStyle>
        <a:defPPr>
          <a:defRPr kumimoji="1" sz="1400" smtClean="0">
            <a:latin typeface="+mn-lt"/>
            <a:ea typeface="+mn-ea"/>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_Format（日）ver.6.pptx[読み取り専用]" id="{7FFEA576-6885-4989-B190-EB001D19C483}" vid="{8761501B-10DF-4685-9E7B-300B1BBB7122}"/>
    </a:ext>
  </a:extLst>
</a:theme>
</file>

<file path=ppt/theme/theme2.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0D7F05D5171174E8619F7C0AE5EE6DF" ma:contentTypeVersion="3" ma:contentTypeDescription="Create a new document." ma:contentTypeScope="" ma:versionID="27e4a5756a1e264f01bed3de08275309">
  <xsd:schema xmlns:xsd="http://www.w3.org/2001/XMLSchema" xmlns:xs="http://www.w3.org/2001/XMLSchema" xmlns:p="http://schemas.microsoft.com/office/2006/metadata/properties" xmlns:ns2="f37bb946-4e99-41d8-abc7-037d3690f693" targetNamespace="http://schemas.microsoft.com/office/2006/metadata/properties" ma:root="true" ma:fieldsID="68f43ae92d512d673c01ae1cf286b4ce" ns2:_="">
    <xsd:import namespace="f37bb946-4e99-41d8-abc7-037d3690f693"/>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7bb946-4e99-41d8-abc7-037d3690f6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0CE112C-3B4D-4E46-939C-B6B2DF98AEA2}">
  <ds:schemaRefs>
    <ds:schemaRef ds:uri="http://schemas.microsoft.com/sharepoint/v3/contenttype/forms"/>
  </ds:schemaRefs>
</ds:datastoreItem>
</file>

<file path=customXml/itemProps2.xml><?xml version="1.0" encoding="utf-8"?>
<ds:datastoreItem xmlns:ds="http://schemas.openxmlformats.org/officeDocument/2006/customXml" ds:itemID="{9B9F0E4D-08F3-428A-9A7C-C27186386E68}">
  <ds:schemaRefs>
    <ds:schemaRef ds:uri="http://schemas.microsoft.com/office/2006/metadata/contentType"/>
    <ds:schemaRef ds:uri="http://schemas.microsoft.com/office/2006/metadata/properties/metaAttributes"/>
    <ds:schemaRef ds:uri="http://www.w3.org/2000/xmlns/"/>
    <ds:schemaRef ds:uri="http://www.w3.org/2001/XMLSchema"/>
    <ds:schemaRef ds:uri="f37bb946-4e99-41d8-abc7-037d3690f693"/>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F236BE3-7A63-4CEC-AFF6-637E81E97F2E}">
  <ds:schemaRefs>
    <ds:schemaRef ds:uri="http://purl.org/dc/terms/"/>
    <ds:schemaRef ds:uri="http://schemas.microsoft.com/office/2006/metadata/properties"/>
    <ds:schemaRef ds:uri="http://schemas.microsoft.com/office/2006/documentManagement/types"/>
    <ds:schemaRef ds:uri="http://www.w3.org/XML/1998/namespace"/>
    <ds:schemaRef ds:uri="http://schemas.microsoft.com/office/infopath/2007/PartnerControls"/>
    <ds:schemaRef ds:uri="http://purl.org/dc/elements/1.1/"/>
    <ds:schemaRef ds:uri="http://schemas.openxmlformats.org/package/2006/metadata/core-properties"/>
    <ds:schemaRef ds:uri="f37bb946-4e99-41d8-abc7-037d3690f69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612</Words>
  <Application>Microsoft Office PowerPoint</Application>
  <PresentationFormat>A4 Paper (210x297 mm)</PresentationFormat>
  <Paragraphs>242</Paragraphs>
  <Slides>15</Slides>
  <Notes>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7" baseType="lpstr">
      <vt:lpstr>メイリオ</vt:lpstr>
      <vt:lpstr>Meiryo UI</vt:lpstr>
      <vt:lpstr>ＭＳ Ｐゴシック</vt:lpstr>
      <vt:lpstr>Arial</vt:lpstr>
      <vt:lpstr>Calibri</vt:lpstr>
      <vt:lpstr>Courier New</vt:lpstr>
      <vt:lpstr>Quattrocento Sans</vt:lpstr>
      <vt:lpstr>Segoe UI</vt:lpstr>
      <vt:lpstr>Söhne</vt:lpstr>
      <vt:lpstr>Times New Roman</vt:lpstr>
      <vt:lpstr>ver.6</vt:lpstr>
      <vt:lpstr>think-cell スライド</vt:lpstr>
      <vt:lpstr>PowerPoint Presentation</vt:lpstr>
      <vt:lpstr>Case Background</vt:lpstr>
      <vt:lpstr> Case Study (1/4) : Marvel Studios</vt:lpstr>
      <vt:lpstr>Case Study (2/4)</vt:lpstr>
      <vt:lpstr>Case Study (3/4)</vt:lpstr>
      <vt:lpstr>Case Study (4/4)</vt:lpstr>
      <vt:lpstr>Mass Media &amp; Entertainment Domain (1/2)</vt:lpstr>
      <vt:lpstr>Mass Media &amp; Entertainment Domain (2/2)</vt:lpstr>
      <vt:lpstr>Data Pipeline (1/3) : Overview </vt:lpstr>
      <vt:lpstr>Data Pipeline (2/3) : Data Preprocessing &amp; Creation</vt:lpstr>
      <vt:lpstr>Data Pipeline (3/3) : Model Building and Evaluation</vt:lpstr>
      <vt:lpstr>Project Board Walkthrough</vt:lpstr>
      <vt:lpstr>Team’s Best Practices</vt:lpstr>
      <vt:lpstr>PowerPoint Presentation</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oup D Abhishek Natani  Jobin Joseph  Miraj Sinya  Olivia Deguit  Roger Mais  Rutvick Rajnibhai Savaliya</dc:title>
  <dc:creator>miraj sinya</dc:creator>
  <cp:lastModifiedBy>Miraj Sinya</cp:lastModifiedBy>
  <cp:revision>1</cp:revision>
  <cp:lastPrinted>2019-10-08T05:49:51Z</cp:lastPrinted>
  <dcterms:created xsi:type="dcterms:W3CDTF">2019-04-26T10:21:06Z</dcterms:created>
  <dcterms:modified xsi:type="dcterms:W3CDTF">2023-11-15T18:4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D7F05D5171174E8619F7C0AE5EE6DF</vt:lpwstr>
  </property>
  <property fmtid="{D5CDD505-2E9C-101B-9397-08002B2CF9AE}" pid="3" name="_dlc_DocIdItemGuid">
    <vt:lpwstr>28e469ef-458a-472d-9833-24589934583c</vt:lpwstr>
  </property>
  <property fmtid="{D5CDD505-2E9C-101B-9397-08002B2CF9AE}" pid="4" name="MediaServiceImageTags">
    <vt:lpwstr/>
  </property>
</Properties>
</file>